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28"/>
  </p:notesMasterIdLst>
  <p:handoutMasterIdLst>
    <p:handoutMasterId r:id="rId29"/>
  </p:handoutMasterIdLst>
  <p:sldIdLst>
    <p:sldId id="256" r:id="rId3"/>
    <p:sldId id="262" r:id="rId4"/>
    <p:sldId id="263" r:id="rId5"/>
    <p:sldId id="269" r:id="rId6"/>
    <p:sldId id="275" r:id="rId7"/>
    <p:sldId id="264" r:id="rId8"/>
    <p:sldId id="270" r:id="rId9"/>
    <p:sldId id="265" r:id="rId10"/>
    <p:sldId id="271" r:id="rId11"/>
    <p:sldId id="266" r:id="rId12"/>
    <p:sldId id="280" r:id="rId13"/>
    <p:sldId id="272" r:id="rId14"/>
    <p:sldId id="278" r:id="rId15"/>
    <p:sldId id="281" r:id="rId16"/>
    <p:sldId id="267" r:id="rId17"/>
    <p:sldId id="273" r:id="rId18"/>
    <p:sldId id="260" r:id="rId19"/>
    <p:sldId id="268" r:id="rId20"/>
    <p:sldId id="274" r:id="rId21"/>
    <p:sldId id="282" r:id="rId22"/>
    <p:sldId id="279" r:id="rId23"/>
    <p:sldId id="283" r:id="rId24"/>
    <p:sldId id="284" r:id="rId25"/>
    <p:sldId id="285" r:id="rId26"/>
    <p:sldId id="277" r:id="rId27"/>
  </p:sldIdLst>
  <p:sldSz cx="12192000" cy="6858000"/>
  <p:notesSz cx="6797675" cy="9928225"/>
  <p:custDataLst>
    <p:tags r:id="rId3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2"/>
            <p14:sldId id="263"/>
            <p14:sldId id="269"/>
            <p14:sldId id="275"/>
            <p14:sldId id="264"/>
            <p14:sldId id="270"/>
            <p14:sldId id="265"/>
            <p14:sldId id="271"/>
            <p14:sldId id="266"/>
            <p14:sldId id="280"/>
            <p14:sldId id="272"/>
            <p14:sldId id="278"/>
            <p14:sldId id="281"/>
            <p14:sldId id="267"/>
            <p14:sldId id="273"/>
            <p14:sldId id="260"/>
            <p14:sldId id="268"/>
            <p14:sldId id="274"/>
          </p14:sldIdLst>
        </p14:section>
        <p14:section name="Backup" id="{919139A4-ADE2-4564-AE13-E4B8AE78359D}">
          <p14:sldIdLst>
            <p14:sldId id="282"/>
            <p14:sldId id="279"/>
            <p14:sldId id="283"/>
            <p14:sldId id="284"/>
            <p14:sldId id="285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5" autoAdjust="0"/>
    <p:restoredTop sz="96367" autoAdjust="0"/>
  </p:normalViewPr>
  <p:slideViewPr>
    <p:cSldViewPr snapToGrid="0">
      <p:cViewPr>
        <p:scale>
          <a:sx n="200" d="100"/>
          <a:sy n="200" d="100"/>
        </p:scale>
        <p:origin x="-1380" y="-94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</p:sldLst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7.xml"/><Relationship Id="rId3" Type="http://schemas.openxmlformats.org/officeDocument/2006/relationships/slide" Target="slides/slide3.xml"/><Relationship Id="rId7" Type="http://schemas.openxmlformats.org/officeDocument/2006/relationships/slide" Target="slides/slide15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10.xml"/><Relationship Id="rId5" Type="http://schemas.openxmlformats.org/officeDocument/2006/relationships/slide" Target="slides/slide8.xml"/><Relationship Id="rId4" Type="http://schemas.openxmlformats.org/officeDocument/2006/relationships/slide" Target="slides/slide6.xml"/><Relationship Id="rId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4/01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09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5" y="943009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14.01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3" tIns="45721" rIns="91443" bIns="45721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2"/>
          </a:xfrm>
          <a:prstGeom prst="rect">
            <a:avLst/>
          </a:prstGeom>
        </p:spPr>
        <p:txBody>
          <a:bodyPr vert="horz" wrap="square" lIns="91443" tIns="45721" rIns="91443" bIns="45721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0"/>
            <a:ext cx="2945659" cy="496412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1987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5353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tif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9679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solidFill>
            <a:srgbClr val="0065BD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 School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Engineering and Desig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3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19" name="Grafik 18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7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cxnSp>
        <p:nvCxnSpPr>
          <p:cNvPr id="50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2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3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4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5" name="Bildplatzhalter 49"/>
          <p:cNvSpPr>
            <a:spLocks noGrp="1"/>
          </p:cNvSpPr>
          <p:nvPr>
            <p:ph type="pic" sz="quarter" idx="5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7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8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25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25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6384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2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6384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4" name="Textfeld 63"/>
          <p:cNvSpPr txBox="1"/>
          <p:nvPr userDrawn="1"/>
        </p:nvSpPr>
        <p:spPr>
          <a:xfrm>
            <a:off x="425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5" name="Textplatzhalter 28"/>
          <p:cNvSpPr>
            <a:spLocks noGrp="1"/>
          </p:cNvSpPr>
          <p:nvPr>
            <p:ph type="body" sz="quarter" idx="57" hasCustomPrompt="1"/>
          </p:nvPr>
        </p:nvSpPr>
        <p:spPr>
          <a:xfrm>
            <a:off x="1894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6" name="Textplatzhalter 28"/>
          <p:cNvSpPr>
            <a:spLocks noGrp="1"/>
          </p:cNvSpPr>
          <p:nvPr>
            <p:ph type="body" sz="quarter" idx="58" hasCustomPrompt="1"/>
          </p:nvPr>
        </p:nvSpPr>
        <p:spPr>
          <a:xfrm>
            <a:off x="1066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Bildplatzhalter 49"/>
          <p:cNvSpPr>
            <a:spLocks noGrp="1"/>
          </p:cNvSpPr>
          <p:nvPr>
            <p:ph type="pic" sz="quarter" idx="59" hasCustomPrompt="1"/>
          </p:nvPr>
        </p:nvSpPr>
        <p:spPr>
          <a:xfrm>
            <a:off x="4997641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8" name="Bildplatzhalter 49"/>
          <p:cNvSpPr>
            <a:spLocks noGrp="1"/>
          </p:cNvSpPr>
          <p:nvPr>
            <p:ph type="pic" sz="quarter" idx="60" hasCustomPrompt="1"/>
          </p:nvPr>
        </p:nvSpPr>
        <p:spPr>
          <a:xfrm>
            <a:off x="10955776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9" name="Textfeld 68"/>
          <p:cNvSpPr txBox="1"/>
          <p:nvPr userDrawn="1"/>
        </p:nvSpPr>
        <p:spPr>
          <a:xfrm>
            <a:off x="6384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0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7853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2" hasCustomPrompt="1"/>
          </p:nvPr>
        </p:nvSpPr>
        <p:spPr>
          <a:xfrm>
            <a:off x="7025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5" name="Gerader Verbinder 24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</p:spTree>
    <p:extLst>
      <p:ext uri="{BB962C8B-B14F-4D97-AF65-F5344CB8AC3E}">
        <p14:creationId xmlns:p14="http://schemas.microsoft.com/office/powerpoint/2010/main" val="88614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2018593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27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55669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276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2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6407569" y="2538622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407569" y="3356960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407570" y="3938310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2708469" y="1275215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200123" y="306556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200123" y="3299218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97862" y="3938310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6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9" y="4496708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6407569" y="4759894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3914577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88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8089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8759" y="6529137"/>
            <a:ext cx="5165559" cy="248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7" name="Rechteck 6"/>
          <p:cNvSpPr/>
          <p:nvPr userDrawn="1"/>
        </p:nvSpPr>
        <p:spPr>
          <a:xfrm>
            <a:off x="10919328" y="272718"/>
            <a:ext cx="930443" cy="433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1688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7416" userDrawn="1">
          <p15:clr>
            <a:srgbClr val="FBAE40"/>
          </p15:clr>
        </p15:guide>
        <p15:guide id="3" pos="264" userDrawn="1">
          <p15:clr>
            <a:srgbClr val="FBAE40"/>
          </p15:clr>
        </p15:guide>
        <p15:guide id="4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2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2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pic>
        <p:nvPicPr>
          <p:cNvPr id="5" name="Bild 3" descr="20150416 tum logo blau png fina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17649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9944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2671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5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4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7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7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6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6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8" name="Textplatzhalter 28"/>
          <p:cNvSpPr>
            <a:spLocks noGrp="1"/>
          </p:cNvSpPr>
          <p:nvPr>
            <p:ph type="body" sz="quarter" idx="4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15881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2" y="6541011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306921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7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90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28" r:id="rId8"/>
    <p:sldLayoutId id="2147483729" r:id="rId9"/>
    <p:sldLayoutId id="2147483716" r:id="rId10"/>
    <p:sldLayoutId id="2147483726" r:id="rId11"/>
    <p:sldLayoutId id="2147483717" r:id="rId12"/>
    <p:sldLayoutId id="2147483724" r:id="rId13"/>
    <p:sldLayoutId id="2147483723" r:id="rId14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32.svg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tags" Target="../tags/tag22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JPG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19" Type="http://schemas.openxmlformats.org/officeDocument/2006/relationships/image" Target="../media/image30.svg"/><Relationship Id="rId4" Type="http://schemas.openxmlformats.org/officeDocument/2006/relationships/image" Target="../media/image15.emf"/><Relationship Id="rId9" Type="http://schemas.openxmlformats.org/officeDocument/2006/relationships/image" Target="../media/image20.svg"/><Relationship Id="rId1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image" Target="../media/image17.png"/><Relationship Id="rId21" Type="http://schemas.openxmlformats.org/officeDocument/2006/relationships/image" Target="../media/image50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image" Target="../media/image47.png"/><Relationship Id="rId16" Type="http://schemas.openxmlformats.org/officeDocument/2006/relationships/image" Target="../media/image30.svg"/><Relationship Id="rId20" Type="http://schemas.openxmlformats.org/officeDocument/2006/relationships/image" Target="../media/image4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52.emf"/><Relationship Id="rId10" Type="http://schemas.openxmlformats.org/officeDocument/2006/relationships/image" Target="../media/image24.svg"/><Relationship Id="rId19" Type="http://schemas.openxmlformats.org/officeDocument/2006/relationships/image" Target="../media/image48.pn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Relationship Id="rId22" Type="http://schemas.openxmlformats.org/officeDocument/2006/relationships/image" Target="../media/image5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7" Type="http://schemas.openxmlformats.org/officeDocument/2006/relationships/slide" Target="slide18.xml"/><Relationship Id="rId2" Type="http://schemas.openxmlformats.org/officeDocument/2006/relationships/slide" Target="slide3.xml"/><Relationship Id="rId1" Type="http://schemas.openxmlformats.org/officeDocument/2006/relationships/slideLayout" Target="../slideLayouts/slideLayout6.xml"/><Relationship Id="rId6" Type="http://schemas.openxmlformats.org/officeDocument/2006/relationships/slide" Target="slide10.xml"/><Relationship Id="rId5" Type="http://schemas.openxmlformats.org/officeDocument/2006/relationships/slide" Target="slide15.xml"/><Relationship Id="rId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1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6.xml"/><Relationship Id="rId7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0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7.xml"/><Relationship Id="rId9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4.emf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434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uca-Felix Kick</a:t>
            </a:r>
          </a:p>
          <a:p>
            <a:r>
              <a:rPr lang="de-DE" dirty="0"/>
              <a:t>Garching, 14.01.2022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25455" y="994337"/>
            <a:ext cx="11345332" cy="820738"/>
          </a:xfrm>
        </p:spPr>
        <p:txBody>
          <a:bodyPr/>
          <a:lstStyle/>
          <a:p>
            <a:r>
              <a:rPr lang="de-DE" dirty="0"/>
              <a:t>Prozessentwicklung für die interne Kontaktierung von</a:t>
            </a:r>
            <a:br>
              <a:rPr lang="de-DE" dirty="0"/>
            </a:br>
            <a:r>
              <a:rPr lang="de-DE" dirty="0"/>
              <a:t>Lithium-Ionen-Zellen durch das Mikro-Rührreibschweiß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bschlusspräsentation Masterarbeit</a:t>
            </a:r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049326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F47E1B3-B3B0-4D82-A17B-DA8EAFBC0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truktion der Spannvorrichtung und Werkzeug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F816C00-C535-454E-BBD4-0E2C7C4326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12E1322-EB66-4846-86F8-C31B8816C6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struktive Ergebniss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3750FD-FFAC-45B5-9EEB-AEDEFEBF72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247C831-224D-4681-9819-87CDFBB045FD}"/>
              </a:ext>
            </a:extLst>
          </p:cNvPr>
          <p:cNvGrpSpPr/>
          <p:nvPr/>
        </p:nvGrpSpPr>
        <p:grpSpPr>
          <a:xfrm>
            <a:off x="425455" y="1808163"/>
            <a:ext cx="5144139" cy="1830387"/>
            <a:chOff x="425455" y="1636857"/>
            <a:chExt cx="4937079" cy="2115216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00A577AA-FCED-4240-8BCB-7CD8DB3F23D4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Hochgenaue Positionierung der Fügepartner im verspannten Zustan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Verspannung der Fügepartner in alle drei Raumricht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Gleichmäßige Kraftaufbringung entlang der Schweißnah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Einfache und schnelle Handhabung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BCCC24E-60C8-4328-8C6A-B44BA7EE5803}"/>
                </a:ext>
              </a:extLst>
            </p:cNvPr>
            <p:cNvSpPr/>
            <p:nvPr/>
          </p:nvSpPr>
          <p:spPr>
            <a:xfrm>
              <a:off x="632902" y="1636857"/>
              <a:ext cx="3205414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forderungen an die Spannvorrichtung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Grafik 11">
            <a:extLst>
              <a:ext uri="{FF2B5EF4-FFF2-40B4-BE49-F238E27FC236}">
                <a16:creationId xmlns:a16="http://schemas.microsoft.com/office/drawing/2014/main" id="{35FFA6DB-C320-4B03-BCE1-B9F2B10DF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13" y="844650"/>
            <a:ext cx="4689303" cy="3285736"/>
          </a:xfrm>
          <a:prstGeom prst="rect">
            <a:avLst/>
          </a:prstGeom>
        </p:spPr>
      </p:pic>
      <p:pic>
        <p:nvPicPr>
          <p:cNvPr id="14" name="Grafik 13" descr="Ein Bild, das Projektor, Fräse, Systemsteuerung enthält.&#10;&#10;Automatisch generierte Beschreibung">
            <a:extLst>
              <a:ext uri="{FF2B5EF4-FFF2-40B4-BE49-F238E27FC236}">
                <a16:creationId xmlns:a16="http://schemas.microsoft.com/office/drawing/2014/main" id="{06BDE3B3-3983-4A77-9F50-478C8E83B1F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4558" r="14067" b="28145"/>
          <a:stretch/>
        </p:blipFill>
        <p:spPr>
          <a:xfrm rot="5228839">
            <a:off x="9230539" y="1856813"/>
            <a:ext cx="3283021" cy="1355197"/>
          </a:xfrm>
          <a:prstGeom prst="rect">
            <a:avLst/>
          </a:prstGeom>
        </p:spPr>
      </p:pic>
      <p:sp>
        <p:nvSpPr>
          <p:cNvPr id="15" name="Rahmen 14">
            <a:extLst>
              <a:ext uri="{FF2B5EF4-FFF2-40B4-BE49-F238E27FC236}">
                <a16:creationId xmlns:a16="http://schemas.microsoft.com/office/drawing/2014/main" id="{C28FA20F-C38C-4E7C-B472-FD695D2345FE}"/>
              </a:ext>
            </a:extLst>
          </p:cNvPr>
          <p:cNvSpPr/>
          <p:nvPr/>
        </p:nvSpPr>
        <p:spPr>
          <a:xfrm>
            <a:off x="10018616" y="662369"/>
            <a:ext cx="1741589" cy="3731054"/>
          </a:xfrm>
          <a:prstGeom prst="frame">
            <a:avLst>
              <a:gd name="adj1" fmla="val 1473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7965D00-E7FA-4139-80F3-03A46911CDC3}"/>
              </a:ext>
            </a:extLst>
          </p:cNvPr>
          <p:cNvGrpSpPr/>
          <p:nvPr/>
        </p:nvGrpSpPr>
        <p:grpSpPr>
          <a:xfrm>
            <a:off x="425454" y="4259089"/>
            <a:ext cx="11205050" cy="1830387"/>
            <a:chOff x="425455" y="1636857"/>
            <a:chExt cx="4937079" cy="2115216"/>
          </a:xfrm>
        </p:grpSpPr>
        <p:sp>
          <p:nvSpPr>
            <p:cNvPr id="18" name="Text Placeholder 7">
              <a:extLst>
                <a:ext uri="{FF2B5EF4-FFF2-40B4-BE49-F238E27FC236}">
                  <a16:creationId xmlns:a16="http://schemas.microsoft.com/office/drawing/2014/main" id="{E22E3E35-9741-4FB2-BBC6-5E622D2029C3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742950" lvl="1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7FD2F2B-BE75-47F2-BDA2-F2FA5C25A7BF}"/>
                </a:ext>
              </a:extLst>
            </p:cNvPr>
            <p:cNvSpPr/>
            <p:nvPr/>
          </p:nvSpPr>
          <p:spPr>
            <a:xfrm>
              <a:off x="527601" y="1636857"/>
              <a:ext cx="1477642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schiedene Werkzeugkonfigurationen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" name="Grafik 19">
            <a:extLst>
              <a:ext uri="{FF2B5EF4-FFF2-40B4-BE49-F238E27FC236}">
                <a16:creationId xmlns:a16="http://schemas.microsoft.com/office/drawing/2014/main" id="{F3BB8FEF-6437-44DB-9D2E-AA4270EA83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051" y="4726401"/>
            <a:ext cx="1040555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9CF4502-5C92-4EFA-83DE-2D02E1DE04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72242" y="4726401"/>
            <a:ext cx="1047457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D7ED1B1-9175-4A76-9D84-B6BCD94013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06355" y="4726401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C304FF20-16D2-4D4C-AF64-30485ABDA9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47293" y="4726401"/>
            <a:ext cx="1040553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B2EA0E70-3AA6-4493-9505-535049F028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87846" y="4726401"/>
            <a:ext cx="1040938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C643077-F3A5-4BB1-A750-4371CF31EE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76606" y="4726401"/>
            <a:ext cx="1040938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88D70050-FCCB-4A33-8914-308DFF6623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328574" y="4726401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3E436023-0767-4016-BD67-2679B78DF1E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122492" y="4726401"/>
            <a:ext cx="1040938" cy="1044000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639CC37B-E7F6-4E7B-888B-AD771C42A41C}"/>
              </a:ext>
            </a:extLst>
          </p:cNvPr>
          <p:cNvSpPr txBox="1"/>
          <p:nvPr/>
        </p:nvSpPr>
        <p:spPr>
          <a:xfrm rot="16200000">
            <a:off x="4337986" y="4941949"/>
            <a:ext cx="961200" cy="61401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inwerkzeuge</a:t>
            </a:r>
          </a:p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Langer Pin</a:t>
            </a:r>
          </a:p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(0,55 mm)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6908090D-93D1-46A4-BF94-93595E49CE70}"/>
              </a:ext>
            </a:extLst>
          </p:cNvPr>
          <p:cNvSpPr txBox="1"/>
          <p:nvPr/>
        </p:nvSpPr>
        <p:spPr>
          <a:xfrm rot="16200000">
            <a:off x="278728" y="5047201"/>
            <a:ext cx="961200" cy="403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err="1">
                <a:latin typeface="+mn-lt"/>
              </a:rPr>
              <a:t>Pinlose</a:t>
            </a:r>
            <a:r>
              <a:rPr lang="de-DE" sz="1200" dirty="0">
                <a:latin typeface="+mn-lt"/>
              </a:rPr>
              <a:t> Werkzeuge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52010BC6-6913-4677-8B2E-5FF334222659}"/>
              </a:ext>
            </a:extLst>
          </p:cNvPr>
          <p:cNvSpPr txBox="1"/>
          <p:nvPr/>
        </p:nvSpPr>
        <p:spPr>
          <a:xfrm rot="16200000">
            <a:off x="9495094" y="4941948"/>
            <a:ext cx="961200" cy="61401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Pinwerkzeug</a:t>
            </a:r>
          </a:p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Kurzer Pin</a:t>
            </a:r>
          </a:p>
          <a:p>
            <a:pPr algn="ctr">
              <a:lnSpc>
                <a:spcPct val="114000"/>
              </a:lnSpc>
            </a:pPr>
            <a:r>
              <a:rPr lang="de-DE" sz="1200" dirty="0">
                <a:latin typeface="+mn-lt"/>
              </a:rPr>
              <a:t>(0,1 mm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5E274805-BA98-4D99-923B-09B7B608612C}"/>
              </a:ext>
            </a:extLst>
          </p:cNvPr>
          <p:cNvCxnSpPr>
            <a:cxnSpLocks/>
          </p:cNvCxnSpPr>
          <p:nvPr/>
        </p:nvCxnSpPr>
        <p:spPr>
          <a:xfrm flipH="1">
            <a:off x="4334326" y="4407327"/>
            <a:ext cx="6357" cy="168214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27E50A6A-AD5D-4243-934D-8AF55CB1EFFC}"/>
              </a:ext>
            </a:extLst>
          </p:cNvPr>
          <p:cNvCxnSpPr>
            <a:cxnSpLocks/>
          </p:cNvCxnSpPr>
          <p:nvPr/>
        </p:nvCxnSpPr>
        <p:spPr>
          <a:xfrm flipH="1">
            <a:off x="9517700" y="4407327"/>
            <a:ext cx="6357" cy="168214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584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12ED2FB-B95E-43C8-8AAE-6090ED8007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5" y="1808163"/>
            <a:ext cx="4316543" cy="1930813"/>
          </a:xfrm>
        </p:spPr>
        <p:txBody>
          <a:bodyPr/>
          <a:lstStyle/>
          <a:p>
            <a:r>
              <a:rPr lang="de-DE" dirty="0"/>
              <a:t>Hochgenaue Positionierung der Fügepartner mit der neuen Spannvorrichtung</a:t>
            </a:r>
            <a:br>
              <a:rPr lang="de-DE" dirty="0"/>
            </a:br>
            <a:r>
              <a:rPr lang="de-DE" dirty="0"/>
              <a:t>→ reproduzierbare Fügeverbindungen mit hoher Qualität über die gesamte Probenbreite</a:t>
            </a:r>
            <a:br>
              <a:rPr lang="de-DE" dirty="0"/>
            </a:br>
            <a:r>
              <a:rPr lang="de-DE" dirty="0"/>
              <a:t>→ Prozessrobusthei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leichterte und schnellere Handhabung mit der neuen Spannvorricht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79F912B-E463-4CB6-9CAC-353857A89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luss der Spannvorricht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18DEF2-189F-43D7-8C57-D2605E8E7E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71153CE-1624-4F14-99AF-515A713EDA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der Validierungsversuch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45C0BE-3011-4326-A07E-573F32CB2ED1}"/>
              </a:ext>
            </a:extLst>
          </p:cNvPr>
          <p:cNvSpPr/>
          <p:nvPr/>
        </p:nvSpPr>
        <p:spPr>
          <a:xfrm>
            <a:off x="2471695" y="4071253"/>
            <a:ext cx="2512214" cy="194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alter Spannvorrichtung gefertig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027DD40-B72E-4A09-8F83-FA4CB5654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55" y="4280263"/>
            <a:ext cx="6782637" cy="3813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9457291-6399-4EB4-9DC7-3E0F10BDB4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55" y="4687160"/>
            <a:ext cx="6782637" cy="3813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55E90DD-FF4E-463E-B707-A9D1590E74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5" y="5868651"/>
            <a:ext cx="6782400" cy="38455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C3D95BE-B511-4F38-9DDF-9E67CD94A8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5" y="5455540"/>
            <a:ext cx="6782400" cy="384557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AC82AC3-2B07-41F6-9E2A-03C2140292E2}"/>
              </a:ext>
            </a:extLst>
          </p:cNvPr>
          <p:cNvSpPr/>
          <p:nvPr/>
        </p:nvSpPr>
        <p:spPr>
          <a:xfrm>
            <a:off x="2471695" y="5260807"/>
            <a:ext cx="2512214" cy="194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neuer Spannvorrichtung gefertig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97A8164-BBB0-42F2-9A61-5742C079DA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455" y="3967157"/>
            <a:ext cx="288000" cy="144000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D70B3FE-5F1F-416C-B75D-695AF4FAF0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8092" y="5124097"/>
            <a:ext cx="288000" cy="1431999"/>
          </a:xfrm>
          <a:prstGeom prst="rect">
            <a:avLst/>
          </a:prstGeom>
        </p:spPr>
      </p:pic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08140EB1-F995-4363-93D3-7B4195D5081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9" t="8525" r="23589" b="8098"/>
          <a:stretch/>
        </p:blipFill>
        <p:spPr>
          <a:xfrm>
            <a:off x="8347367" y="4900263"/>
            <a:ext cx="1559255" cy="144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8EE6BEB-9E12-423E-9723-3006BC3BA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5401" y="4900263"/>
            <a:ext cx="231966" cy="144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B9A7CE4-8531-4CFE-838A-8F0111A9145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74238" y="4912136"/>
            <a:ext cx="220621" cy="1440000"/>
          </a:xfrm>
          <a:prstGeom prst="rect">
            <a:avLst/>
          </a:prstGeom>
        </p:spPr>
      </p:pic>
      <p:pic>
        <p:nvPicPr>
          <p:cNvPr id="18" name="Grafik 17" descr="Ein Bild, das Text enthält.&#10;&#10;Automatisch generierte Beschreibung">
            <a:extLst>
              <a:ext uri="{FF2B5EF4-FFF2-40B4-BE49-F238E27FC236}">
                <a16:creationId xmlns:a16="http://schemas.microsoft.com/office/drawing/2014/main" id="{E35A310A-B44A-4E2A-B613-1414985EC3E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8" t="16782" r="28795" b="16465"/>
          <a:stretch/>
        </p:blipFill>
        <p:spPr>
          <a:xfrm>
            <a:off x="10194859" y="4918123"/>
            <a:ext cx="1571686" cy="14400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29F2EBE-23C8-45A4-BB85-604745C23AC8}"/>
              </a:ext>
            </a:extLst>
          </p:cNvPr>
          <p:cNvSpPr/>
          <p:nvPr/>
        </p:nvSpPr>
        <p:spPr>
          <a:xfrm>
            <a:off x="8395588" y="4268665"/>
            <a:ext cx="1355196" cy="6315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alter Spannvorrichtung gefertig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A19330D-F35A-4CFE-A4CB-D792C8350D3D}"/>
              </a:ext>
            </a:extLst>
          </p:cNvPr>
          <p:cNvSpPr/>
          <p:nvPr/>
        </p:nvSpPr>
        <p:spPr>
          <a:xfrm>
            <a:off x="10245949" y="4349822"/>
            <a:ext cx="1355196" cy="5623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neuer Spannvorrichtung gefertig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6FD2B89-12CE-4340-86A0-847681BAB59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28214" t="22055" r="29048" b="21379"/>
          <a:stretch/>
        </p:blipFill>
        <p:spPr>
          <a:xfrm>
            <a:off x="4741998" y="43171"/>
            <a:ext cx="1354002" cy="126725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C993A315-CFB0-453E-B484-B9EA9ACB67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276757" y="805277"/>
            <a:ext cx="4848447" cy="3228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1222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fik 31">
            <a:extLst>
              <a:ext uri="{FF2B5EF4-FFF2-40B4-BE49-F238E27FC236}">
                <a16:creationId xmlns:a16="http://schemas.microsoft.com/office/drawing/2014/main" id="{9521C594-E6F2-4C6C-BD6C-3D7AD8B121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" r="-1"/>
          <a:stretch/>
        </p:blipFill>
        <p:spPr>
          <a:xfrm>
            <a:off x="2372774" y="5542191"/>
            <a:ext cx="6120000" cy="349213"/>
          </a:xfrm>
          <a:prstGeom prst="rect">
            <a:avLst/>
          </a:prstGeo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C981701-152F-4B01-B550-45743B72A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5" y="1870783"/>
            <a:ext cx="5827056" cy="3483681"/>
          </a:xfrm>
        </p:spPr>
        <p:txBody>
          <a:bodyPr/>
          <a:lstStyle/>
          <a:p>
            <a:r>
              <a:rPr lang="de-DE" dirty="0"/>
              <a:t>Aluminiumanlagerungen an </a:t>
            </a:r>
            <a:r>
              <a:rPr lang="de-DE" dirty="0" err="1"/>
              <a:t>Pinwerkzeugen</a:t>
            </a:r>
            <a:br>
              <a:rPr lang="de-DE" dirty="0"/>
            </a:br>
            <a:r>
              <a:rPr lang="de-DE" dirty="0"/>
              <a:t>→ hohe Gratbildung bei </a:t>
            </a:r>
            <a:r>
              <a:rPr lang="de-DE" dirty="0" err="1"/>
              <a:t>Pinwerkzeugen</a:t>
            </a:r>
            <a:r>
              <a:rPr lang="de-DE" dirty="0"/>
              <a:t> ab dem zweiten Schweißpunkt</a:t>
            </a:r>
          </a:p>
          <a:p>
            <a:r>
              <a:rPr lang="de-DE" dirty="0"/>
              <a:t>Dreieckstrukturierung des pinlosen Werkzeugs führt zu erhöhtem Materialfluss</a:t>
            </a:r>
          </a:p>
          <a:p>
            <a:r>
              <a:rPr lang="de-DE" dirty="0"/>
              <a:t>Geringe Gratbildung für Aluminium mit den pinlosen Werkzeugen und für Kupfer mit allen Werkzeugen</a:t>
            </a:r>
          </a:p>
          <a:p>
            <a:r>
              <a:rPr lang="de-DE" dirty="0"/>
              <a:t>Temperatur im Nahtnebenbereich &lt; 80 °C (ca. 4,5 mm vom Schweißpunktzentrum entfernt)</a:t>
            </a:r>
          </a:p>
          <a:p>
            <a:r>
              <a:rPr lang="de-DE" dirty="0"/>
              <a:t>Elektr. Widerstand für die Aluminiumproben leicht höher und für die Kupferproben mäßig höher im Vergleich zu einer einzelnen Folie</a:t>
            </a:r>
          </a:p>
          <a:p>
            <a:r>
              <a:rPr lang="de-DE" dirty="0"/>
              <a:t>Hohe Festigkeitswerte </a:t>
            </a:r>
          </a:p>
          <a:p>
            <a:r>
              <a:rPr lang="de-DE" dirty="0"/>
              <a:t>Keine inneren Defekt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FE435B-261C-47BF-8752-2E9A4CC74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luss der Werkzeug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23F675-3792-494A-85EB-531F594423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B3B1958-529E-4E8D-8E5E-129C5D208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der Hauptversuch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C051847-73DE-4877-B449-D7849CF109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57198" y="193105"/>
            <a:ext cx="717624" cy="720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EA3FF5A-C568-42B7-BA7E-DF099F68B4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40229" y="193105"/>
            <a:ext cx="722384" cy="72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5F051B1-3331-4447-A172-0F45703034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90935" y="193105"/>
            <a:ext cx="720000" cy="72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8C34F77C-2DAF-4AE8-BE4D-77B80C62CF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04380" y="193105"/>
            <a:ext cx="717623" cy="72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202CAF0-67E5-45DE-8F90-56B04CF4C5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15448" y="193105"/>
            <a:ext cx="717889" cy="720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2C84B64-46AE-4FBB-A7C0-62B9F3BA09A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68267" y="193105"/>
            <a:ext cx="717889" cy="72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00F89AD4-F5DC-4BCA-8C01-9A7B1135D8F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026782" y="193105"/>
            <a:ext cx="720000" cy="72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83C3326-8656-472B-9227-C2B87215D93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79601" y="193105"/>
            <a:ext cx="717889" cy="720000"/>
          </a:xfrm>
          <a:prstGeom prst="rect">
            <a:avLst/>
          </a:prstGeom>
        </p:spPr>
      </p:pic>
      <p:pic>
        <p:nvPicPr>
          <p:cNvPr id="39" name="Grafik 38" descr="Ein Bild, das draußen enthält.&#10;&#10;Automatisch generierte Beschreibung">
            <a:extLst>
              <a:ext uri="{FF2B5EF4-FFF2-40B4-BE49-F238E27FC236}">
                <a16:creationId xmlns:a16="http://schemas.microsoft.com/office/drawing/2014/main" id="{EC848A3C-0260-4AE7-A0EA-29EAF6CA388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372" y="2911740"/>
            <a:ext cx="2118708" cy="1947384"/>
          </a:xfrm>
          <a:prstGeom prst="rect">
            <a:avLst/>
          </a:prstGeom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2C83F60-1B7E-47AA-B540-57F040ECEABD}"/>
              </a:ext>
            </a:extLst>
          </p:cNvPr>
          <p:cNvSpPr/>
          <p:nvPr/>
        </p:nvSpPr>
        <p:spPr>
          <a:xfrm>
            <a:off x="9208900" y="1142660"/>
            <a:ext cx="1355196" cy="174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kzeugpin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A700CF22-619F-4406-B5D0-FA3A8F72AD49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67" t="19320" r="36111" b="46670"/>
          <a:stretch/>
        </p:blipFill>
        <p:spPr>
          <a:xfrm>
            <a:off x="7999886" y="1404765"/>
            <a:ext cx="1866901" cy="1362076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3C4EA8B7-35E9-4020-8A69-B7898A03F60B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66" t="19320" r="36111" b="46670"/>
          <a:stretch/>
        </p:blipFill>
        <p:spPr>
          <a:xfrm>
            <a:off x="9906210" y="1404765"/>
            <a:ext cx="1866900" cy="1362076"/>
          </a:xfrm>
          <a:prstGeom prst="rect">
            <a:avLst/>
          </a:prstGeom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AEAF2BE6-C34B-4A27-9823-056CF8FCE737}"/>
              </a:ext>
            </a:extLst>
          </p:cNvPr>
          <p:cNvSpPr/>
          <p:nvPr/>
        </p:nvSpPr>
        <p:spPr>
          <a:xfrm>
            <a:off x="9208900" y="2854906"/>
            <a:ext cx="1355196" cy="1619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kzeugschulter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29E16E26-78EE-4251-9AFA-33B797DAE582}"/>
              </a:ext>
            </a:extLst>
          </p:cNvPr>
          <p:cNvSpPr/>
          <p:nvPr/>
        </p:nvSpPr>
        <p:spPr>
          <a:xfrm>
            <a:off x="7999886" y="1088854"/>
            <a:ext cx="860689" cy="311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elagertes Aluminium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378FB7FD-7289-47B6-9BDA-4E94E35F90A8}"/>
              </a:ext>
            </a:extLst>
          </p:cNvPr>
          <p:cNvCxnSpPr>
            <a:cxnSpLocks/>
            <a:stCxn id="44" idx="2"/>
          </p:cNvCxnSpPr>
          <p:nvPr/>
        </p:nvCxnSpPr>
        <p:spPr>
          <a:xfrm flipH="1">
            <a:off x="9023694" y="1316700"/>
            <a:ext cx="862804" cy="244452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8BF82BE-0575-41F9-A80A-F267E18EAA6A}"/>
              </a:ext>
            </a:extLst>
          </p:cNvPr>
          <p:cNvCxnSpPr>
            <a:cxnSpLocks/>
            <a:stCxn id="48" idx="2"/>
          </p:cNvCxnSpPr>
          <p:nvPr/>
        </p:nvCxnSpPr>
        <p:spPr>
          <a:xfrm>
            <a:off x="8430231" y="1400003"/>
            <a:ext cx="204391" cy="340518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F318F615-4DE1-4E5D-81D8-D57580EE7175}"/>
              </a:ext>
            </a:extLst>
          </p:cNvPr>
          <p:cNvCxnSpPr>
            <a:cxnSpLocks/>
            <a:endCxn id="47" idx="0"/>
          </p:cNvCxnSpPr>
          <p:nvPr/>
        </p:nvCxnSpPr>
        <p:spPr>
          <a:xfrm>
            <a:off x="9413291" y="2069134"/>
            <a:ext cx="473207" cy="785772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648D053-98CE-4271-99CC-20382725D301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9886498" y="2069134"/>
            <a:ext cx="473207" cy="785772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85FEF22-413D-4023-B8E6-36E058D53E89}"/>
              </a:ext>
            </a:extLst>
          </p:cNvPr>
          <p:cNvCxnSpPr>
            <a:cxnSpLocks/>
            <a:endCxn id="44" idx="2"/>
          </p:cNvCxnSpPr>
          <p:nvPr/>
        </p:nvCxnSpPr>
        <p:spPr>
          <a:xfrm flipH="1" flipV="1">
            <a:off x="9886498" y="1316700"/>
            <a:ext cx="841243" cy="276184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448ECA62-DC87-49AE-8507-375CDE5DA75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640062" y="3136753"/>
            <a:ext cx="3126483" cy="3126483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7A3758E8-D9F8-4ADD-B828-DB27F6ACDB0F}"/>
              </a:ext>
            </a:extLst>
          </p:cNvPr>
          <p:cNvSpPr/>
          <p:nvPr/>
        </p:nvSpPr>
        <p:spPr>
          <a:xfrm>
            <a:off x="2493331" y="5518797"/>
            <a:ext cx="2060531" cy="39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30415C5-53C4-4C0A-9D0D-A28E61187B84}"/>
              </a:ext>
            </a:extLst>
          </p:cNvPr>
          <p:cNvSpPr/>
          <p:nvPr/>
        </p:nvSpPr>
        <p:spPr>
          <a:xfrm>
            <a:off x="6309594" y="5518797"/>
            <a:ext cx="2060531" cy="39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55C05B-D3CD-4AE2-988D-5844C9309F93}"/>
              </a:ext>
            </a:extLst>
          </p:cNvPr>
          <p:cNvSpPr txBox="1"/>
          <p:nvPr/>
        </p:nvSpPr>
        <p:spPr>
          <a:xfrm>
            <a:off x="2493330" y="5135952"/>
            <a:ext cx="2060531" cy="3699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100" dirty="0">
                <a:latin typeface="+mn-lt"/>
              </a:rPr>
              <a:t>Probe für Widerstandsmessung und Zugprüf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AA18326-3D45-4EE6-BBC1-E24FC20E69A6}"/>
              </a:ext>
            </a:extLst>
          </p:cNvPr>
          <p:cNvSpPr txBox="1"/>
          <p:nvPr/>
        </p:nvSpPr>
        <p:spPr>
          <a:xfrm>
            <a:off x="6309593" y="5137191"/>
            <a:ext cx="2060531" cy="3699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100" dirty="0">
                <a:latin typeface="+mn-lt"/>
              </a:rPr>
              <a:t>Probe für Widerstandsmessung und Zugprüfung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248BD82-11FD-4754-ACCD-22A0D7FE2490}"/>
              </a:ext>
            </a:extLst>
          </p:cNvPr>
          <p:cNvCxnSpPr>
            <a:cxnSpLocks/>
          </p:cNvCxnSpPr>
          <p:nvPr/>
        </p:nvCxnSpPr>
        <p:spPr>
          <a:xfrm>
            <a:off x="2493330" y="5981214"/>
            <a:ext cx="206053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24C67A34-26DF-442E-ACF3-877192B289A8}"/>
              </a:ext>
            </a:extLst>
          </p:cNvPr>
          <p:cNvSpPr txBox="1"/>
          <p:nvPr/>
        </p:nvSpPr>
        <p:spPr>
          <a:xfrm>
            <a:off x="3234790" y="6013421"/>
            <a:ext cx="577611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100" dirty="0">
                <a:latin typeface="+mn-lt"/>
              </a:rPr>
              <a:t>24,5 mm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AF8F1A31-5EAA-418C-BEEF-0B40256B1AFC}"/>
              </a:ext>
            </a:extLst>
          </p:cNvPr>
          <p:cNvCxnSpPr>
            <a:cxnSpLocks/>
          </p:cNvCxnSpPr>
          <p:nvPr/>
        </p:nvCxnSpPr>
        <p:spPr>
          <a:xfrm>
            <a:off x="5636712" y="2605414"/>
            <a:ext cx="1851574" cy="763074"/>
          </a:xfrm>
          <a:prstGeom prst="straightConnector1">
            <a:avLst/>
          </a:prstGeom>
          <a:ln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8494C2D6-BCEC-4335-ACBE-28B2EEF5671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5779" y="4935214"/>
            <a:ext cx="2665476" cy="160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5476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F00DF02-8A55-4BD6-B34A-7AF86D212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von Punkt- und Linienschweißun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4213225-F34E-4B5A-AAFD-C0220156F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60FB252-9103-4344-8A13-27D354B836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der Optimierungsversuch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2737144-4DC2-4061-8C68-9D8FAB8E2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73549" y="30731"/>
            <a:ext cx="991871" cy="99478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6EBDC65-15AC-4932-9204-025E268D00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3025" y="2115671"/>
            <a:ext cx="9505950" cy="3571875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0EA16046-35D6-4187-919C-56B388CEABFA}"/>
              </a:ext>
            </a:extLst>
          </p:cNvPr>
          <p:cNvSpPr/>
          <p:nvPr/>
        </p:nvSpPr>
        <p:spPr>
          <a:xfrm>
            <a:off x="3519814" y="2609296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7D7D3A-44E4-49DD-92F8-ACE5951AA276}"/>
              </a:ext>
            </a:extLst>
          </p:cNvPr>
          <p:cNvSpPr/>
          <p:nvPr/>
        </p:nvSpPr>
        <p:spPr>
          <a:xfrm>
            <a:off x="7215709" y="2609296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F1F0152-08AA-415A-938D-419525825321}"/>
              </a:ext>
            </a:extLst>
          </p:cNvPr>
          <p:cNvSpPr/>
          <p:nvPr/>
        </p:nvSpPr>
        <p:spPr>
          <a:xfrm>
            <a:off x="3519814" y="3083350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4F4B348-4C94-42B8-84B6-559BAA521CEB}"/>
              </a:ext>
            </a:extLst>
          </p:cNvPr>
          <p:cNvSpPr/>
          <p:nvPr/>
        </p:nvSpPr>
        <p:spPr>
          <a:xfrm>
            <a:off x="7215709" y="3083350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4664B0C-2D1E-4EC1-A543-827303E92D11}"/>
              </a:ext>
            </a:extLst>
          </p:cNvPr>
          <p:cNvSpPr/>
          <p:nvPr/>
        </p:nvSpPr>
        <p:spPr>
          <a:xfrm>
            <a:off x="5363228" y="3561427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416940-0FBA-4CB5-B8F3-7DFB27D3010F}"/>
              </a:ext>
            </a:extLst>
          </p:cNvPr>
          <p:cNvSpPr/>
          <p:nvPr/>
        </p:nvSpPr>
        <p:spPr>
          <a:xfrm>
            <a:off x="9064669" y="3561427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EC5405-E9BB-4568-A681-C6A53C5C9440}"/>
              </a:ext>
            </a:extLst>
          </p:cNvPr>
          <p:cNvSpPr/>
          <p:nvPr/>
        </p:nvSpPr>
        <p:spPr>
          <a:xfrm>
            <a:off x="3519814" y="4734838"/>
            <a:ext cx="1697276" cy="715768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7A62635-3BEB-43BF-807F-BB4AD85B3C92}"/>
              </a:ext>
            </a:extLst>
          </p:cNvPr>
          <p:cNvSpPr/>
          <p:nvPr/>
        </p:nvSpPr>
        <p:spPr>
          <a:xfrm>
            <a:off x="7217797" y="4734838"/>
            <a:ext cx="1697276" cy="715768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09872CC-EFA8-47E8-B75E-6DE2C828007C}"/>
              </a:ext>
            </a:extLst>
          </p:cNvPr>
          <p:cNvSpPr/>
          <p:nvPr/>
        </p:nvSpPr>
        <p:spPr>
          <a:xfrm>
            <a:off x="7215709" y="4039458"/>
            <a:ext cx="1697276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50A5255-F353-4980-AE35-39C7BDEFE068}"/>
              </a:ext>
            </a:extLst>
          </p:cNvPr>
          <p:cNvSpPr/>
          <p:nvPr/>
        </p:nvSpPr>
        <p:spPr>
          <a:xfrm>
            <a:off x="3519814" y="4039458"/>
            <a:ext cx="3540690" cy="41760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7516269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5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5140398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46ACF9E-5B3E-4536-A25D-9EA484311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6" y="343459"/>
            <a:ext cx="9023347" cy="738664"/>
          </a:xfrm>
        </p:spPr>
        <p:txBody>
          <a:bodyPr/>
          <a:lstStyle/>
          <a:p>
            <a:r>
              <a:rPr lang="de-DE" dirty="0"/>
              <a:t>Interne Kontaktierung von Lithium-Ionen-Zellen durch das Mikro-Rührreibpunktschweißen mit hohem Potenzia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8EABE-F54A-44B9-8E2E-599C6B7178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86625A-DA60-4609-8D3D-7AF21183B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B48F2B7-7369-448F-BCF5-76BA2E14D126}"/>
              </a:ext>
            </a:extLst>
          </p:cNvPr>
          <p:cNvGrpSpPr/>
          <p:nvPr/>
        </p:nvGrpSpPr>
        <p:grpSpPr>
          <a:xfrm>
            <a:off x="982349" y="1876296"/>
            <a:ext cx="10227303" cy="1616419"/>
            <a:chOff x="425455" y="1636858"/>
            <a:chExt cx="4937079" cy="2115215"/>
          </a:xfrm>
        </p:grpSpPr>
        <p:sp>
          <p:nvSpPr>
            <p:cNvPr id="7" name="Text Placeholder 7">
              <a:extLst>
                <a:ext uri="{FF2B5EF4-FFF2-40B4-BE49-F238E27FC236}">
                  <a16:creationId xmlns:a16="http://schemas.microsoft.com/office/drawing/2014/main" id="{5E982730-B643-4701-AC05-971EA1E7855D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Reproduzierbar hohe Qualität der Fügestellen über die gesamte Probenbreite bei Verwendung der neuen Spannvorrichtung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 err="1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inloses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Werkzeug mit dreieckig strukturierter Schulter am besten geeigne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Hohe Prozessrobustheit bei Verwendung der neuen Spannvorrichtung und einer Eintauchtiefe von 0,1 mm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unktschweißungen insgesamt mit besseren Eigenschaften als Linienschweiß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AC03F3B-5821-4972-9CA7-8F289449A444}"/>
                </a:ext>
              </a:extLst>
            </p:cNvPr>
            <p:cNvSpPr/>
            <p:nvPr/>
          </p:nvSpPr>
          <p:spPr>
            <a:xfrm>
              <a:off x="519103" y="1636858"/>
              <a:ext cx="81826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sammenfassung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9F85BDB-C42A-4FE2-9980-26CA039D3044}"/>
              </a:ext>
            </a:extLst>
          </p:cNvPr>
          <p:cNvGrpSpPr/>
          <p:nvPr/>
        </p:nvGrpSpPr>
        <p:grpSpPr>
          <a:xfrm>
            <a:off x="3388985" y="4373437"/>
            <a:ext cx="5414030" cy="1586359"/>
            <a:chOff x="425455" y="1636858"/>
            <a:chExt cx="4937079" cy="2115215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5F14F48B-E5D2-4119-B353-7E209AFF21A1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Werkzeug mit stehender Schulter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Steigerung der Folienzahl der Prob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Langzeiteigenschaften bzw. Langzeitbelastung der Prob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Qualitätsüberwachung während des Prozesses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A3BC99B-B2F7-43D0-8478-5F1D931C0E9A}"/>
                </a:ext>
              </a:extLst>
            </p:cNvPr>
            <p:cNvSpPr/>
            <p:nvPr/>
          </p:nvSpPr>
          <p:spPr>
            <a:xfrm>
              <a:off x="599436" y="1636858"/>
              <a:ext cx="2245048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iterer Handlungsbedarf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857EE8F5-DFC9-48B0-BDED-33BCA5761511}"/>
              </a:ext>
            </a:extLst>
          </p:cNvPr>
          <p:cNvSpPr/>
          <p:nvPr/>
        </p:nvSpPr>
        <p:spPr>
          <a:xfrm flipV="1">
            <a:off x="3230849" y="3752446"/>
            <a:ext cx="5730303" cy="361261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35066694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490445-AB2E-430F-BB95-8DC9AFD46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5" y="2623950"/>
            <a:ext cx="11345332" cy="410369"/>
          </a:xfrm>
        </p:spPr>
        <p:txBody>
          <a:bodyPr/>
          <a:lstStyle/>
          <a:p>
            <a:pPr algn="ctr"/>
            <a:r>
              <a:rPr lang="de-DE" dirty="0"/>
              <a:t>Vielen Dank für Ihre Aufmerksamkeit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15219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8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7576806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B249B55-BF72-402D-9071-93BAFF9223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5" y="1099335"/>
            <a:ext cx="11334748" cy="5317340"/>
          </a:xfrm>
        </p:spPr>
        <p:txBody>
          <a:bodyPr/>
          <a:lstStyle/>
          <a:p>
            <a:pPr marL="0" indent="0">
              <a:buNone/>
            </a:pPr>
            <a:r>
              <a:rPr lang="de-DE" sz="1100" dirty="0"/>
              <a:t>ENGL 2020 </a:t>
            </a:r>
            <a:br>
              <a:rPr lang="de-DE" sz="1100" dirty="0"/>
            </a:br>
            <a:r>
              <a:rPr lang="de-DE" sz="1100" dirty="0"/>
              <a:t>Engl, T.: Konstruktion und Bewertung verschiedener FSW-Werkzeuge für die Kontaktierung von Batterieträgerfolien. Semesterarbeit: Technische Universität München (2020)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GERA ET AL. 2021 </a:t>
            </a:r>
            <a:br>
              <a:rPr lang="de-DE" sz="1100" dirty="0"/>
            </a:br>
            <a:r>
              <a:rPr lang="de-DE" sz="1100" dirty="0"/>
              <a:t>Gera, D.; Fu, B.; </a:t>
            </a:r>
            <a:r>
              <a:rPr lang="de-DE" sz="1100" dirty="0" err="1"/>
              <a:t>Suhuddin</a:t>
            </a:r>
            <a:r>
              <a:rPr lang="de-DE" sz="1100" dirty="0"/>
              <a:t>, U. F.H.R.; </a:t>
            </a:r>
            <a:r>
              <a:rPr lang="de-DE" sz="1100" dirty="0" err="1"/>
              <a:t>Plaine</a:t>
            </a:r>
            <a:r>
              <a:rPr lang="de-DE" sz="1100" dirty="0"/>
              <a:t>, A.; Alcantara, N.; dos Santos, J. F.; Klusemann, B.: </a:t>
            </a:r>
            <a:r>
              <a:rPr lang="de-DE" sz="1100" dirty="0" err="1"/>
              <a:t>Microstructure</a:t>
            </a:r>
            <a:r>
              <a:rPr lang="de-DE" sz="1100" dirty="0"/>
              <a:t>, </a:t>
            </a:r>
            <a:r>
              <a:rPr lang="de-DE" sz="1100" dirty="0" err="1"/>
              <a:t>mechanical</a:t>
            </a:r>
            <a:r>
              <a:rPr lang="de-DE" sz="1100" dirty="0"/>
              <a:t> and </a:t>
            </a:r>
            <a:r>
              <a:rPr lang="de-DE" sz="1100" dirty="0" err="1"/>
              <a:t>functional</a:t>
            </a:r>
            <a:r>
              <a:rPr lang="de-DE" sz="1100" dirty="0"/>
              <a:t> </a:t>
            </a:r>
            <a:r>
              <a:rPr lang="de-DE" sz="1100" dirty="0" err="1"/>
              <a:t>properties</a:t>
            </a:r>
            <a:r>
              <a:rPr lang="de-DE" sz="1100" dirty="0"/>
              <a:t> </a:t>
            </a:r>
            <a:r>
              <a:rPr lang="de-DE" sz="1100" dirty="0" err="1"/>
              <a:t>of</a:t>
            </a:r>
            <a:r>
              <a:rPr lang="de-DE" sz="1100" dirty="0"/>
              <a:t> </a:t>
            </a:r>
            <a:r>
              <a:rPr lang="de-DE" sz="1100" dirty="0" err="1"/>
              <a:t>refill</a:t>
            </a:r>
            <a:r>
              <a:rPr lang="de-DE" sz="1100" dirty="0"/>
              <a:t> </a:t>
            </a:r>
            <a:r>
              <a:rPr lang="de-DE" sz="1100" dirty="0" err="1"/>
              <a:t>friction</a:t>
            </a:r>
            <a:r>
              <a:rPr lang="de-DE" sz="1100" dirty="0"/>
              <a:t> </a:t>
            </a:r>
            <a:r>
              <a:rPr lang="de-DE" sz="1100" dirty="0" err="1"/>
              <a:t>stir</a:t>
            </a:r>
            <a:r>
              <a:rPr lang="de-DE" sz="1100" dirty="0"/>
              <a:t> </a:t>
            </a:r>
            <a:r>
              <a:rPr lang="de-DE" sz="1100" dirty="0" err="1"/>
              <a:t>spot</a:t>
            </a:r>
            <a:r>
              <a:rPr lang="de-DE" sz="1100" dirty="0"/>
              <a:t> </a:t>
            </a:r>
            <a:r>
              <a:rPr lang="de-DE" sz="1100" dirty="0" err="1"/>
              <a:t>welds</a:t>
            </a:r>
            <a:r>
              <a:rPr lang="de-DE" sz="1100" dirty="0"/>
              <a:t> on </a:t>
            </a:r>
            <a:r>
              <a:rPr lang="de-DE" sz="1100" dirty="0" err="1"/>
              <a:t>multilayered</a:t>
            </a:r>
            <a:r>
              <a:rPr lang="de-DE" sz="1100" dirty="0"/>
              <a:t> </a:t>
            </a:r>
            <a:r>
              <a:rPr lang="de-DE" sz="1100" dirty="0" err="1"/>
              <a:t>aluminum</a:t>
            </a:r>
            <a:r>
              <a:rPr lang="de-DE" sz="1100" dirty="0"/>
              <a:t> </a:t>
            </a:r>
            <a:r>
              <a:rPr lang="de-DE" sz="1100" dirty="0" err="1"/>
              <a:t>foils</a:t>
            </a:r>
            <a:r>
              <a:rPr lang="de-DE" sz="1100" dirty="0"/>
              <a:t> </a:t>
            </a:r>
            <a:r>
              <a:rPr lang="de-DE" sz="1100" dirty="0" err="1"/>
              <a:t>for</a:t>
            </a:r>
            <a:r>
              <a:rPr lang="de-DE" sz="1100" dirty="0"/>
              <a:t> </a:t>
            </a:r>
            <a:r>
              <a:rPr lang="de-DE" sz="1100" dirty="0" err="1"/>
              <a:t>battery</a:t>
            </a:r>
            <a:r>
              <a:rPr lang="de-DE" sz="1100" dirty="0"/>
              <a:t> </a:t>
            </a:r>
            <a:r>
              <a:rPr lang="de-DE" sz="1100" dirty="0" err="1"/>
              <a:t>application</a:t>
            </a:r>
            <a:r>
              <a:rPr lang="de-DE" sz="1100" dirty="0"/>
              <a:t>. Journal </a:t>
            </a:r>
            <a:r>
              <a:rPr lang="de-DE" sz="1100" dirty="0" err="1"/>
              <a:t>of</a:t>
            </a:r>
            <a:r>
              <a:rPr lang="de-DE" sz="1100" dirty="0"/>
              <a:t> Materials Research and Technology (2021)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HOFFMANN 2020 </a:t>
            </a:r>
          </a:p>
          <a:p>
            <a:pPr marL="0" indent="0">
              <a:buNone/>
            </a:pPr>
            <a:r>
              <a:rPr lang="de-DE" sz="1100" dirty="0"/>
              <a:t>Hoffmann, P.: Methode zur Qualitätsbewertung mittels Rührreibschweißen gefügter Batterieträgerfolien mit Ableitern für Lithium-Ionen-Zellen. Bachelorarbeit: Technische Universität München (2020)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KAMPKER ET AL. 2013 </a:t>
            </a:r>
            <a:br>
              <a:rPr lang="de-DE" sz="1100" dirty="0"/>
            </a:br>
            <a:r>
              <a:rPr lang="de-DE" sz="1100" dirty="0" err="1"/>
              <a:t>Kampker</a:t>
            </a:r>
            <a:r>
              <a:rPr lang="de-DE" sz="1100" dirty="0"/>
              <a:t>, A.; </a:t>
            </a:r>
            <a:r>
              <a:rPr lang="de-DE" sz="1100" dirty="0" err="1"/>
              <a:t>Hohenthanner</a:t>
            </a:r>
            <a:r>
              <a:rPr lang="de-DE" sz="1100" dirty="0"/>
              <a:t>, C.-R.; </a:t>
            </a:r>
            <a:r>
              <a:rPr lang="de-DE" sz="1100" dirty="0" err="1"/>
              <a:t>Deutskens</a:t>
            </a:r>
            <a:r>
              <a:rPr lang="de-DE" sz="1100" dirty="0"/>
              <a:t>, C.; Heimes, H. H.; </a:t>
            </a:r>
            <a:r>
              <a:rPr lang="de-DE" sz="1100" dirty="0" err="1"/>
              <a:t>Sesterheim</a:t>
            </a:r>
            <a:r>
              <a:rPr lang="de-DE" sz="1100" dirty="0"/>
              <a:t>, C.: Fertigungsverfahren von Lithium-Ionen-Zellen und -Batterien. In: </a:t>
            </a:r>
            <a:r>
              <a:rPr lang="de-DE" sz="1100" dirty="0" err="1"/>
              <a:t>Korthauer</a:t>
            </a:r>
            <a:r>
              <a:rPr lang="de-DE" sz="1100" dirty="0"/>
              <a:t>, R. (Hrsg.): Handbuch Lithium-Ionen-Batterien: Springer Berlin Heidelberg 2013, S. 237‑247. ISBN: 978-3-642-30652-5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KAMPKER 2014 </a:t>
            </a:r>
          </a:p>
          <a:p>
            <a:pPr marL="0" indent="0">
              <a:buNone/>
            </a:pPr>
            <a:r>
              <a:rPr lang="de-DE" sz="1100" dirty="0" err="1"/>
              <a:t>Kampker</a:t>
            </a:r>
            <a:r>
              <a:rPr lang="de-DE" sz="1100" dirty="0"/>
              <a:t>, A.: Elektromobilproduktion. Berlin, Heidelberg: Springer Berlin Heidelberg 2014. ISBN: 978-3-642-42021-4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PETER 2020 </a:t>
            </a:r>
          </a:p>
          <a:p>
            <a:pPr marL="0" indent="0">
              <a:buNone/>
            </a:pPr>
            <a:r>
              <a:rPr lang="de-DE" sz="1100" dirty="0"/>
              <a:t>Peter, N.: Untersuchungen zum Mikrorührreibschweißen als alternative Fügetechnologie für die Kontaktierung von Batterieträgerfolien. Semesterarbeit: Technische Universität München (2020)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RUHSTORFER 2012 </a:t>
            </a:r>
          </a:p>
          <a:p>
            <a:pPr marL="0" indent="0">
              <a:buNone/>
            </a:pPr>
            <a:r>
              <a:rPr lang="de-DE" sz="1100" dirty="0"/>
              <a:t>Ruhstorfer, M.: Rührreibschweißen von Rohren. Dissertation: Technische Universität München. München: Herbert Utz Verlag 2012. ISBN: 3831641978. (Forschungsberichte IWB 262).</a:t>
            </a:r>
          </a:p>
          <a:p>
            <a:pPr marL="0" indent="0">
              <a:buNone/>
            </a:pPr>
            <a:endParaRPr lang="de-DE" sz="1100" dirty="0"/>
          </a:p>
          <a:p>
            <a:pPr marL="0" indent="0">
              <a:buNone/>
            </a:pPr>
            <a:r>
              <a:rPr lang="de-DE" sz="1100" dirty="0"/>
              <a:t>WÖHRLE 2013 </a:t>
            </a:r>
          </a:p>
          <a:p>
            <a:pPr marL="0" indent="0">
              <a:buNone/>
            </a:pPr>
            <a:r>
              <a:rPr lang="de-DE" sz="1100" dirty="0"/>
              <a:t>Wöhrle, T.: Lithium-Ionen-Zelle. In: </a:t>
            </a:r>
            <a:r>
              <a:rPr lang="de-DE" sz="1100" dirty="0" err="1"/>
              <a:t>Korthauer</a:t>
            </a:r>
            <a:r>
              <a:rPr lang="de-DE" sz="1100" dirty="0"/>
              <a:t>, R. (Hrsg.): Handbuch Lithium-Ionen-Batterien: Springer Berlin Heidelberg 2013, S. 107‑117. ISBN: 978-3-642-30652-5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942225-AE88-486E-AE76-1409CC81F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DCECA2-CC3F-4478-95E2-C05551B8ED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297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hlinkClick r:id="rId2" action="ppaction://hlinksldjump"/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hlinkClick r:id="rId3" action="ppaction://hlinksldjump"/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9514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hlinkClick r:id="rId4" action="ppaction://hlinksldjump"/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hlinkClick r:id="rId5" action="ppaction://hlinksldjump"/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hlinkClick r:id="rId6" action="ppaction://hlinksldjump"/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hlinkClick r:id="rId7" action="ppaction://hlinksldjump"/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40690789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drinnen, Metall enthält.&#10;&#10;Automatisch generierte Beschreibung">
            <a:extLst>
              <a:ext uri="{FF2B5EF4-FFF2-40B4-BE49-F238E27FC236}">
                <a16:creationId xmlns:a16="http://schemas.microsoft.com/office/drawing/2014/main" id="{78AA61E3-AD6D-4859-A506-BD19798BBF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06" t="15869" r="8639" b="10577"/>
          <a:stretch/>
        </p:blipFill>
        <p:spPr>
          <a:xfrm>
            <a:off x="515450" y="2430464"/>
            <a:ext cx="2826000" cy="1664465"/>
          </a:xfrm>
          <a:prstGeom prst="rect">
            <a:avLst/>
          </a:prstGeom>
        </p:spPr>
      </p:pic>
      <p:pic>
        <p:nvPicPr>
          <p:cNvPr id="3" name="Grafik 2" descr="Ein Bild, das Metall, Kochen enthält.&#10;&#10;Automatisch generierte Beschreibung">
            <a:extLst>
              <a:ext uri="{FF2B5EF4-FFF2-40B4-BE49-F238E27FC236}">
                <a16:creationId xmlns:a16="http://schemas.microsoft.com/office/drawing/2014/main" id="{0CCDEC4C-DBC5-47EC-8854-329230911D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5" t="15869" r="10919" b="10577"/>
          <a:stretch/>
        </p:blipFill>
        <p:spPr>
          <a:xfrm>
            <a:off x="3449450" y="2430464"/>
            <a:ext cx="2826000" cy="166446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6C119E91-8B7F-4711-B4F9-496C8CBCC3D4}"/>
              </a:ext>
            </a:extLst>
          </p:cNvPr>
          <p:cNvSpPr txBox="1"/>
          <p:nvPr/>
        </p:nvSpPr>
        <p:spPr>
          <a:xfrm>
            <a:off x="1275988" y="2092959"/>
            <a:ext cx="1304925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pannschraube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CC416288-A4A9-4B08-9AB6-FB8A83506F34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1137584" y="2323791"/>
            <a:ext cx="790867" cy="18838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5FBD763-CF53-4789-8A3A-C030D06617E9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1401109" y="2323791"/>
            <a:ext cx="527342" cy="18838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3A70E39-22B9-47D3-9FAF-93B861A9EFB8}"/>
              </a:ext>
            </a:extLst>
          </p:cNvPr>
          <p:cNvCxnSpPr>
            <a:cxnSpLocks/>
            <a:endCxn id="4" idx="2"/>
          </p:cNvCxnSpPr>
          <p:nvPr/>
        </p:nvCxnSpPr>
        <p:spPr>
          <a:xfrm flipH="1" flipV="1">
            <a:off x="1928451" y="2323791"/>
            <a:ext cx="441033" cy="15560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28E06A4-25AF-4147-86F5-BC83770AF907}"/>
              </a:ext>
            </a:extLst>
          </p:cNvPr>
          <p:cNvCxnSpPr>
            <a:cxnSpLocks/>
            <a:endCxn id="4" idx="2"/>
          </p:cNvCxnSpPr>
          <p:nvPr/>
        </p:nvCxnSpPr>
        <p:spPr>
          <a:xfrm flipH="1" flipV="1">
            <a:off x="1928451" y="2323791"/>
            <a:ext cx="720433" cy="18838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CB765FA6-ABE8-4102-8207-CF3DAA0E612C}"/>
              </a:ext>
            </a:extLst>
          </p:cNvPr>
          <p:cNvSpPr txBox="1"/>
          <p:nvPr/>
        </p:nvSpPr>
        <p:spPr>
          <a:xfrm>
            <a:off x="512109" y="4146618"/>
            <a:ext cx="1151359" cy="369332"/>
          </a:xfrm>
          <a:prstGeom prst="rect">
            <a:avLst/>
          </a:prstGeom>
          <a:noFill/>
        </p:spPr>
        <p:txBody>
          <a:bodyPr wrap="square" lIns="54000" rIns="54000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Nut für Ableiterstäbch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36BC61C-B55C-4F95-9642-426DEC10FAA1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087789" y="3321003"/>
            <a:ext cx="412539" cy="825615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A17328B5-A800-46A3-A589-E5DD16019BE0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087789" y="3245598"/>
            <a:ext cx="575679" cy="90102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130E78AC-8AB9-4C0B-932F-3FE282B900C1}"/>
              </a:ext>
            </a:extLst>
          </p:cNvPr>
          <p:cNvSpPr txBox="1"/>
          <p:nvPr/>
        </p:nvSpPr>
        <p:spPr>
          <a:xfrm>
            <a:off x="4027738" y="2092959"/>
            <a:ext cx="1669425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Befestigungsschraub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68B7DCE-F0C4-432D-AD12-A15EA3BB21E2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37909" y="2323791"/>
            <a:ext cx="1124542" cy="769406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43B2057-28D0-4BAA-8A94-A5CF554C95BF}"/>
              </a:ext>
            </a:extLst>
          </p:cNvPr>
          <p:cNvCxnSpPr>
            <a:cxnSpLocks/>
            <a:endCxn id="12" idx="2"/>
          </p:cNvCxnSpPr>
          <p:nvPr/>
        </p:nvCxnSpPr>
        <p:spPr>
          <a:xfrm flipH="1" flipV="1">
            <a:off x="4862451" y="2323791"/>
            <a:ext cx="1164633" cy="769406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31233B9-E53F-4FB3-A28F-FC297920CC7C}"/>
              </a:ext>
            </a:extLst>
          </p:cNvPr>
          <p:cNvSpPr txBox="1"/>
          <p:nvPr/>
        </p:nvSpPr>
        <p:spPr>
          <a:xfrm>
            <a:off x="4492691" y="4212110"/>
            <a:ext cx="1770687" cy="230832"/>
          </a:xfrm>
          <a:prstGeom prst="rect">
            <a:avLst/>
          </a:prstGeom>
          <a:noFill/>
        </p:spPr>
        <p:txBody>
          <a:bodyPr wrap="square" lIns="54000" rIns="54000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eingespannte Kupferprob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33E4E63-E0E8-4C40-952F-472FEDFD4824}"/>
              </a:ext>
            </a:extLst>
          </p:cNvPr>
          <p:cNvCxnSpPr>
            <a:cxnSpLocks/>
            <a:stCxn id="15" idx="0"/>
          </p:cNvCxnSpPr>
          <p:nvPr/>
        </p:nvCxnSpPr>
        <p:spPr>
          <a:xfrm flipH="1" flipV="1">
            <a:off x="5205553" y="3337672"/>
            <a:ext cx="172482" cy="874438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4947CC05-C2DF-473A-9FE8-6B22A69EC8AF}"/>
              </a:ext>
            </a:extLst>
          </p:cNvPr>
          <p:cNvSpPr txBox="1"/>
          <p:nvPr/>
        </p:nvSpPr>
        <p:spPr>
          <a:xfrm>
            <a:off x="1714595" y="4146618"/>
            <a:ext cx="1151359" cy="369332"/>
          </a:xfrm>
          <a:prstGeom prst="rect">
            <a:avLst/>
          </a:prstGeom>
          <a:noFill/>
        </p:spPr>
        <p:txBody>
          <a:bodyPr wrap="square" lIns="54000" rIns="54000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Nut für Thermoelement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E618911-8F9B-4B6C-A51F-6F6344EBA4DA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1633678" y="3734081"/>
            <a:ext cx="656597" cy="412537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AB74F63-DB1E-46B5-A3CF-0006CE2A2422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2181365" y="3734081"/>
            <a:ext cx="108910" cy="412537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B2BAC6F9-19AD-46A8-BF5F-460767BA19B3}"/>
              </a:ext>
            </a:extLst>
          </p:cNvPr>
          <p:cNvSpPr txBox="1"/>
          <p:nvPr/>
        </p:nvSpPr>
        <p:spPr>
          <a:xfrm>
            <a:off x="2917081" y="4146618"/>
            <a:ext cx="1524483" cy="369332"/>
          </a:xfrm>
          <a:prstGeom prst="rect">
            <a:avLst/>
          </a:prstGeom>
          <a:noFill/>
        </p:spPr>
        <p:txBody>
          <a:bodyPr wrap="square" lIns="54000" rIns="54000" rtlCol="0" anchor="ctr">
            <a:spAutoFit/>
          </a:bodyPr>
          <a:lstStyle/>
          <a:p>
            <a:pPr algn="ctr"/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Aufspannpalette des Bearbeitungszentrums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27FDAE2F-10D1-4A04-BD6D-3BC611C830CF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3544440" y="3843358"/>
            <a:ext cx="134883" cy="30326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C699004-03C5-4298-8FE8-C3088122E763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3248165" y="3816303"/>
            <a:ext cx="431158" cy="330315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3B4A67D9-2FDD-4BEC-A1D1-719754BAB6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74" y="380764"/>
            <a:ext cx="5040000" cy="3004718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0A05AABB-B5DB-49A1-BF40-B1D37A1871B6}"/>
              </a:ext>
            </a:extLst>
          </p:cNvPr>
          <p:cNvSpPr txBox="1"/>
          <p:nvPr/>
        </p:nvSpPr>
        <p:spPr>
          <a:xfrm>
            <a:off x="10562387" y="1804382"/>
            <a:ext cx="14592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Skalierung der Verformung 2300x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DCFBF4B-F8A6-4ADA-A542-6A516B13AA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74" y="3429000"/>
            <a:ext cx="5039826" cy="3004615"/>
          </a:xfrm>
          <a:prstGeom prst="rect">
            <a:avLst/>
          </a:prstGeom>
        </p:spPr>
      </p:pic>
      <p:sp>
        <p:nvSpPr>
          <p:cNvPr id="26" name="Titel 25">
            <a:extLst>
              <a:ext uri="{FF2B5EF4-FFF2-40B4-BE49-F238E27FC236}">
                <a16:creationId xmlns:a16="http://schemas.microsoft.com/office/drawing/2014/main" id="{01F81C05-179B-4D4C-B6C8-750728EFE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annvorrichtung</a:t>
            </a:r>
          </a:p>
        </p:txBody>
      </p:sp>
    </p:spTree>
    <p:extLst>
      <p:ext uri="{BB962C8B-B14F-4D97-AF65-F5344CB8AC3E}">
        <p14:creationId xmlns:p14="http://schemas.microsoft.com/office/powerpoint/2010/main" val="954018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D8DB145-8B4F-49A7-96A2-4033F3E5F7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5" y="1808163"/>
            <a:ext cx="5316584" cy="2881824"/>
          </a:xfrm>
        </p:spPr>
        <p:txBody>
          <a:bodyPr/>
          <a:lstStyle/>
          <a:p>
            <a:r>
              <a:rPr lang="de-DE" dirty="0"/>
              <a:t>Maximale Grathöhe konnte nicht reduziert werden</a:t>
            </a:r>
          </a:p>
          <a:p>
            <a:r>
              <a:rPr lang="de-DE" dirty="0"/>
              <a:t>Gratvolumen sank mit einer geringeren Eintauchtiefe</a:t>
            </a:r>
          </a:p>
          <a:p>
            <a:r>
              <a:rPr lang="de-DE" dirty="0"/>
              <a:t>Elektrischer Widerstand stieg an</a:t>
            </a:r>
          </a:p>
          <a:p>
            <a:r>
              <a:rPr lang="de-DE" dirty="0"/>
              <a:t>Zugfestigkeit verringerte sich für Kupfer stark</a:t>
            </a:r>
            <a:br>
              <a:rPr lang="de-DE" dirty="0"/>
            </a:br>
            <a:r>
              <a:rPr lang="de-DE" dirty="0"/>
              <a:t>→ zu geringe Schweißnahttiefe</a:t>
            </a:r>
          </a:p>
          <a:p>
            <a:r>
              <a:rPr lang="de-DE" dirty="0"/>
              <a:t>Geringere Eintauchtiefe führte zu Prozessinstabilitäten</a:t>
            </a:r>
            <a:br>
              <a:rPr lang="de-DE" dirty="0"/>
            </a:br>
            <a:r>
              <a:rPr lang="de-DE" dirty="0"/>
              <a:t>→ Prozessgrenze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→ insgesamt bessere Ergebnisse mit dem ursprünglichen Parametersatz mit </a:t>
            </a:r>
            <a:r>
              <a:rPr lang="de-DE" i="1" dirty="0"/>
              <a:t>n</a:t>
            </a:r>
            <a:r>
              <a:rPr lang="de-DE" dirty="0"/>
              <a:t> = 4800 1/min, </a:t>
            </a:r>
            <a:r>
              <a:rPr lang="de-DE" i="1" dirty="0"/>
              <a:t>E</a:t>
            </a:r>
            <a:r>
              <a:rPr lang="de-DE" baseline="-25000" dirty="0"/>
              <a:t>t</a:t>
            </a:r>
            <a:r>
              <a:rPr lang="de-DE" dirty="0"/>
              <a:t> = 0,1 mm und </a:t>
            </a:r>
            <a:r>
              <a:rPr lang="de-DE" i="1" dirty="0"/>
              <a:t>t</a:t>
            </a:r>
            <a:r>
              <a:rPr lang="de-DE" baseline="-25000" dirty="0"/>
              <a:t>v</a:t>
            </a:r>
            <a:r>
              <a:rPr lang="de-DE" dirty="0"/>
              <a:t> = 0 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666A3F-EF43-40A2-B630-FFFF6D3CB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irkungen einer reduzierten Eintauchtiefe und Drehzah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36A0A3-3BD0-49BF-9596-FC0F0DA2D07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z="1100" i="1" dirty="0"/>
              <a:t>n</a:t>
            </a:r>
            <a:r>
              <a:rPr lang="de-DE" sz="1100" dirty="0"/>
              <a:t>: Drehzahl; </a:t>
            </a:r>
            <a:r>
              <a:rPr lang="de-DE" sz="1100" i="1" dirty="0"/>
              <a:t>E</a:t>
            </a:r>
            <a:r>
              <a:rPr lang="de-DE" sz="1100" baseline="-25000" dirty="0"/>
              <a:t>t</a:t>
            </a:r>
            <a:r>
              <a:rPr lang="de-DE" sz="1100" dirty="0"/>
              <a:t>: Eintauchtiefe des Werkzeugs; </a:t>
            </a:r>
            <a:r>
              <a:rPr lang="de-DE" sz="1100" i="1" dirty="0"/>
              <a:t>t</a:t>
            </a:r>
            <a:r>
              <a:rPr lang="de-DE" sz="1100" baseline="-25000" dirty="0"/>
              <a:t>v</a:t>
            </a:r>
            <a:r>
              <a:rPr lang="de-DE" sz="1100" dirty="0"/>
              <a:t>: Verweilzeit des Werkzeug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DB55514-B643-4AE8-9757-6285023D65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der Optimierungsversuch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D3C20A-035B-4567-90D6-53C9E41C00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49963" y="1237737"/>
            <a:ext cx="3442128" cy="345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8831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7ED1DF-8A5E-4ADA-8A68-DD4550248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ssaufbau Zugprüf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1B9A2A-FE1F-428C-9F3F-C04C894C4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2</a:t>
            </a:fld>
            <a:endParaRPr lang="de-DE" dirty="0"/>
          </a:p>
        </p:txBody>
      </p:sp>
      <p:pic>
        <p:nvPicPr>
          <p:cNvPr id="5" name="Grafik 4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E7B89FA-0817-4D92-A227-E0CF16E7E7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043771" y="2130194"/>
            <a:ext cx="3840000" cy="2880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586A3B2E-97B8-409B-9CDF-C1BD5B45CF9D}"/>
              </a:ext>
            </a:extLst>
          </p:cNvPr>
          <p:cNvSpPr/>
          <p:nvPr/>
        </p:nvSpPr>
        <p:spPr>
          <a:xfrm>
            <a:off x="3083771" y="2390045"/>
            <a:ext cx="1296000" cy="194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kN Kraftmessdo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070F1D5-6A1D-4FA5-9DA5-54A56327E1B1}"/>
              </a:ext>
            </a:extLst>
          </p:cNvPr>
          <p:cNvSpPr/>
          <p:nvPr/>
        </p:nvSpPr>
        <p:spPr>
          <a:xfrm>
            <a:off x="7548897" y="2228661"/>
            <a:ext cx="1296000" cy="681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ere pneumatische Spannbacke (geschlossener Zustand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865889F-0AA0-4D6E-9E5D-62B68D7BA751}"/>
              </a:ext>
            </a:extLst>
          </p:cNvPr>
          <p:cNvSpPr/>
          <p:nvPr/>
        </p:nvSpPr>
        <p:spPr>
          <a:xfrm>
            <a:off x="3364570" y="3093145"/>
            <a:ext cx="1020467" cy="30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eumatische Betätig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1BB262B-0508-4FF6-9119-BC52030B9585}"/>
              </a:ext>
            </a:extLst>
          </p:cNvPr>
          <p:cNvSpPr/>
          <p:nvPr/>
        </p:nvSpPr>
        <p:spPr>
          <a:xfrm>
            <a:off x="7542504" y="3973479"/>
            <a:ext cx="1296000" cy="681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e pneumatische Spannbacke (geöffneter Zustand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A65B04-D029-40E3-A4F8-16E5F2837439}"/>
              </a:ext>
            </a:extLst>
          </p:cNvPr>
          <p:cNvSpPr/>
          <p:nvPr/>
        </p:nvSpPr>
        <p:spPr>
          <a:xfrm>
            <a:off x="7547771" y="3037456"/>
            <a:ext cx="1159200" cy="340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leiterstäbch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A6E2699-94FA-4066-B250-F377100168F4}"/>
              </a:ext>
            </a:extLst>
          </p:cNvPr>
          <p:cNvSpPr/>
          <p:nvPr/>
        </p:nvSpPr>
        <p:spPr>
          <a:xfrm>
            <a:off x="3089038" y="3904823"/>
            <a:ext cx="1296000" cy="5215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richtung zur Auflage der Ableiterstäbchen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2B3702B-BC38-44F7-91C4-3C79ACBB1AE5}"/>
              </a:ext>
            </a:extLst>
          </p:cNvPr>
          <p:cNvCxnSpPr>
            <a:cxnSpLocks/>
            <a:endCxn id="6" idx="3"/>
          </p:cNvCxnSpPr>
          <p:nvPr/>
        </p:nvCxnSpPr>
        <p:spPr>
          <a:xfrm flipH="1">
            <a:off x="4379771" y="2487411"/>
            <a:ext cx="1444300" cy="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904C7FDD-28B5-4956-87B6-1A6D3CBC63E2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4385037" y="2990988"/>
            <a:ext cx="859598" cy="253813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D3C4257C-9431-4C33-8585-EA40C95F6F8F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4385037" y="3244801"/>
            <a:ext cx="859598" cy="744002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5DF9220-BAB2-4951-89AE-0FFDE2FC8BFB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4385038" y="3396457"/>
            <a:ext cx="1527936" cy="76913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8364B464-299C-4ADC-8107-D364FF6151BE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5978059" y="3207848"/>
            <a:ext cx="1569712" cy="135972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7FFFC06-3ED1-43B6-8DC9-BAB8AAD0FF21}"/>
              </a:ext>
            </a:extLst>
          </p:cNvPr>
          <p:cNvCxnSpPr>
            <a:cxnSpLocks/>
            <a:stCxn id="9" idx="1"/>
          </p:cNvCxnSpPr>
          <p:nvPr/>
        </p:nvCxnSpPr>
        <p:spPr>
          <a:xfrm flipH="1" flipV="1">
            <a:off x="6116174" y="3675862"/>
            <a:ext cx="1426330" cy="63840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ABEA442-E65C-4243-92A6-C6707DE37D84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6075691" y="2569445"/>
            <a:ext cx="1473206" cy="722603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8E76636-0B8C-4A4F-B52C-9FDC83111F66}"/>
              </a:ext>
            </a:extLst>
          </p:cNvPr>
          <p:cNvCxnSpPr>
            <a:cxnSpLocks/>
            <a:stCxn id="20" idx="1"/>
          </p:cNvCxnSpPr>
          <p:nvPr/>
        </p:nvCxnSpPr>
        <p:spPr>
          <a:xfrm flipH="1" flipV="1">
            <a:off x="5963771" y="3471049"/>
            <a:ext cx="1585126" cy="20481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B4DDC771-9B99-4B6A-BD3A-CEBEC15EDB54}"/>
              </a:ext>
            </a:extLst>
          </p:cNvPr>
          <p:cNvSpPr/>
          <p:nvPr/>
        </p:nvSpPr>
        <p:spPr>
          <a:xfrm>
            <a:off x="7548897" y="3505467"/>
            <a:ext cx="631024" cy="340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ien</a:t>
            </a:r>
          </a:p>
        </p:txBody>
      </p:sp>
    </p:spTree>
    <p:extLst>
      <p:ext uri="{BB962C8B-B14F-4D97-AF65-F5344CB8AC3E}">
        <p14:creationId xmlns:p14="http://schemas.microsoft.com/office/powerpoint/2010/main" val="3643015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B13C49-FD85-40E5-B43B-7C45C3EC1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ssaufbau Widerstandsmess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CAEBFA-D093-4209-B71A-9DD3052243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3</a:t>
            </a:fld>
            <a:endParaRPr lang="de-DE" dirty="0"/>
          </a:p>
        </p:txBody>
      </p:sp>
      <p:pic>
        <p:nvPicPr>
          <p:cNvPr id="5" name="Grafik 4" descr="Ein Bild, das Kunststoff enthält.&#10;&#10;Automatisch generierte Beschreibung">
            <a:extLst>
              <a:ext uri="{FF2B5EF4-FFF2-40B4-BE49-F238E27FC236}">
                <a16:creationId xmlns:a16="http://schemas.microsoft.com/office/drawing/2014/main" id="{1C4C4FFE-FFFA-454C-A733-07E4626DF1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111"/>
          <a:stretch/>
        </p:blipFill>
        <p:spPr>
          <a:xfrm>
            <a:off x="6161785" y="2418255"/>
            <a:ext cx="2700000" cy="1800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24B40FAA-67C8-41B4-A589-A1406CAB13F5}"/>
              </a:ext>
            </a:extLst>
          </p:cNvPr>
          <p:cNvSpPr/>
          <p:nvPr/>
        </p:nvSpPr>
        <p:spPr>
          <a:xfrm>
            <a:off x="894639" y="4537710"/>
            <a:ext cx="933881" cy="33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r-Punkt-Leiter-Prüfstand</a:t>
            </a:r>
          </a:p>
        </p:txBody>
      </p:sp>
      <p:pic>
        <p:nvPicPr>
          <p:cNvPr id="7" name="Grafik 6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8079AF9C-3334-4F2D-9162-47097A4B05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33" b="3031"/>
          <a:stretch/>
        </p:blipFill>
        <p:spPr>
          <a:xfrm>
            <a:off x="899206" y="2053072"/>
            <a:ext cx="4320000" cy="242144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144C8F8-1ABA-449E-863F-80D31DA0969C}"/>
              </a:ext>
            </a:extLst>
          </p:cNvPr>
          <p:cNvSpPr/>
          <p:nvPr/>
        </p:nvSpPr>
        <p:spPr>
          <a:xfrm>
            <a:off x="2056269" y="1654160"/>
            <a:ext cx="1473590" cy="335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äzisionsmultimeter </a:t>
            </a:r>
            <a:r>
              <a:rPr lang="de-DE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ke 8846A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72FDB34-CD51-4717-8CB7-E86FF3BBA47D}"/>
              </a:ext>
            </a:extLst>
          </p:cNvPr>
          <p:cNvSpPr/>
          <p:nvPr/>
        </p:nvSpPr>
        <p:spPr>
          <a:xfrm>
            <a:off x="188753" y="1655083"/>
            <a:ext cx="1738630" cy="33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zteil </a:t>
            </a:r>
            <a:r>
              <a:rPr lang="de-DE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hde &amp; Schwarz HMP 4040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98D064-2A23-4D2E-A0C1-658049F4575B}"/>
              </a:ext>
            </a:extLst>
          </p:cNvPr>
          <p:cNvSpPr/>
          <p:nvPr/>
        </p:nvSpPr>
        <p:spPr>
          <a:xfrm>
            <a:off x="3661901" y="1655083"/>
            <a:ext cx="2277305" cy="33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ptop zur Ausführung des Prüfprogramms und Dokumentation der Ergebnisse</a:t>
            </a:r>
            <a:endParaRPr lang="de-DE" sz="9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A83F09E-E0D2-4D53-9CE9-F64FCD4E2AD0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1058068" y="1989883"/>
            <a:ext cx="547316" cy="597403"/>
          </a:xfrm>
          <a:prstGeom prst="line">
            <a:avLst/>
          </a:prstGeom>
          <a:ln w="3175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2DDA842-89AB-410F-AEAD-76BFCB51DB67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2793064" y="1989883"/>
            <a:ext cx="415675" cy="738699"/>
          </a:xfrm>
          <a:prstGeom prst="line">
            <a:avLst/>
          </a:prstGeom>
          <a:ln w="3175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259831AD-14B0-44E1-9458-70F06C7EE905}"/>
              </a:ext>
            </a:extLst>
          </p:cNvPr>
          <p:cNvCxnSpPr>
            <a:cxnSpLocks/>
            <a:endCxn id="10" idx="2"/>
          </p:cNvCxnSpPr>
          <p:nvPr/>
        </p:nvCxnSpPr>
        <p:spPr>
          <a:xfrm flipV="1">
            <a:off x="4620626" y="1989883"/>
            <a:ext cx="179928" cy="497191"/>
          </a:xfrm>
          <a:prstGeom prst="line">
            <a:avLst/>
          </a:prstGeom>
          <a:ln w="3175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8418AF5-2FC2-441E-BA0E-D6041C1E9848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1361580" y="3947574"/>
            <a:ext cx="1151221" cy="590136"/>
          </a:xfrm>
          <a:prstGeom prst="line">
            <a:avLst/>
          </a:prstGeom>
          <a:ln w="3175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8DE42845-7EBF-49D6-9ED4-D9BF6D1ADCB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6" t="2957" r="14393" b="35949"/>
          <a:stretch/>
        </p:blipFill>
        <p:spPr>
          <a:xfrm>
            <a:off x="9059905" y="2418256"/>
            <a:ext cx="2700000" cy="180000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6B6B2975-259D-4B6C-8C1E-436C3CB3ADB6}"/>
              </a:ext>
            </a:extLst>
          </p:cNvPr>
          <p:cNvSpPr/>
          <p:nvPr/>
        </p:nvSpPr>
        <p:spPr>
          <a:xfrm>
            <a:off x="3587284" y="4537710"/>
            <a:ext cx="1631474" cy="335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spitzen zur Einleitung des Prüfstrom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2CE4FCA-0943-453B-842E-73DD14CC79C6}"/>
              </a:ext>
            </a:extLst>
          </p:cNvPr>
          <p:cNvSpPr/>
          <p:nvPr/>
        </p:nvSpPr>
        <p:spPr>
          <a:xfrm>
            <a:off x="2073554" y="4537710"/>
            <a:ext cx="1368562" cy="33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spitzen zur Messung  des Spannungsabfalls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0D47F1F-8862-4FDA-AA87-84B4A8D1C441}"/>
              </a:ext>
            </a:extLst>
          </p:cNvPr>
          <p:cNvCxnSpPr>
            <a:cxnSpLocks/>
            <a:stCxn id="17" idx="0"/>
          </p:cNvCxnSpPr>
          <p:nvPr/>
        </p:nvCxnSpPr>
        <p:spPr>
          <a:xfrm flipV="1">
            <a:off x="2757835" y="3739325"/>
            <a:ext cx="107696" cy="798385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41B33DD-A26A-436A-8331-A38F71D8E5DC}"/>
              </a:ext>
            </a:extLst>
          </p:cNvPr>
          <p:cNvCxnSpPr>
            <a:cxnSpLocks/>
            <a:stCxn id="17" idx="0"/>
          </p:cNvCxnSpPr>
          <p:nvPr/>
        </p:nvCxnSpPr>
        <p:spPr>
          <a:xfrm flipH="1" flipV="1">
            <a:off x="2732181" y="3739325"/>
            <a:ext cx="25654" cy="798385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DE912434-4099-48D3-A137-57ADB670A416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2982145" y="3721666"/>
            <a:ext cx="1420876" cy="816044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30C90E02-266D-4B68-814F-AF02304092E9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2611139" y="3766599"/>
            <a:ext cx="1791882" cy="771111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5878A3E0-5209-4713-8A5F-8F687B9C0BEA}"/>
              </a:ext>
            </a:extLst>
          </p:cNvPr>
          <p:cNvCxnSpPr>
            <a:cxnSpLocks/>
          </p:cNvCxnSpPr>
          <p:nvPr/>
        </p:nvCxnSpPr>
        <p:spPr>
          <a:xfrm flipV="1">
            <a:off x="9964145" y="3552824"/>
            <a:ext cx="49122" cy="34288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22D6A9B6-C101-4EBE-9DDB-523BA2218D42}"/>
              </a:ext>
            </a:extLst>
          </p:cNvPr>
          <p:cNvCxnSpPr>
            <a:cxnSpLocks/>
          </p:cNvCxnSpPr>
          <p:nvPr/>
        </p:nvCxnSpPr>
        <p:spPr>
          <a:xfrm flipV="1">
            <a:off x="10318547" y="3570785"/>
            <a:ext cx="49122" cy="34288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A9CC93E-7963-4DAF-9609-F57DA46E5B8E}"/>
              </a:ext>
            </a:extLst>
          </p:cNvPr>
          <p:cNvCxnSpPr>
            <a:cxnSpLocks/>
          </p:cNvCxnSpPr>
          <p:nvPr/>
        </p:nvCxnSpPr>
        <p:spPr>
          <a:xfrm flipV="1">
            <a:off x="10680062" y="3587950"/>
            <a:ext cx="49122" cy="34288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BF769D5-DAB5-4207-833B-7665EC5B2134}"/>
              </a:ext>
            </a:extLst>
          </p:cNvPr>
          <p:cNvCxnSpPr>
            <a:cxnSpLocks/>
          </p:cNvCxnSpPr>
          <p:nvPr/>
        </p:nvCxnSpPr>
        <p:spPr>
          <a:xfrm flipV="1">
            <a:off x="11047267" y="3586975"/>
            <a:ext cx="49122" cy="37717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D2BE221-17D1-4FF1-9E02-E14D80120FD1}"/>
              </a:ext>
            </a:extLst>
          </p:cNvPr>
          <p:cNvSpPr/>
          <p:nvPr/>
        </p:nvSpPr>
        <p:spPr>
          <a:xfrm>
            <a:off x="8074576" y="1867462"/>
            <a:ext cx="1772539" cy="439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ier zur Isolierung der gemessenen Folie vom restlichen Folienstapel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C6A0E752-C1ED-46A0-944A-9BA6A20A7F32}"/>
              </a:ext>
            </a:extLst>
          </p:cNvPr>
          <p:cNvCxnSpPr>
            <a:cxnSpLocks/>
            <a:endCxn id="26" idx="2"/>
          </p:cNvCxnSpPr>
          <p:nvPr/>
        </p:nvCxnSpPr>
        <p:spPr>
          <a:xfrm flipV="1">
            <a:off x="8074576" y="2307439"/>
            <a:ext cx="886270" cy="1007614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A8906CB-71D2-4D6F-B33D-9EE1E6E60D9F}"/>
              </a:ext>
            </a:extLst>
          </p:cNvPr>
          <p:cNvCxnSpPr>
            <a:cxnSpLocks/>
            <a:endCxn id="26" idx="2"/>
          </p:cNvCxnSpPr>
          <p:nvPr/>
        </p:nvCxnSpPr>
        <p:spPr>
          <a:xfrm flipH="1" flipV="1">
            <a:off x="8960846" y="2307439"/>
            <a:ext cx="2286000" cy="1166564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EB952BB3-CF88-4282-ADB3-6D81A54E226A}"/>
              </a:ext>
            </a:extLst>
          </p:cNvPr>
          <p:cNvSpPr/>
          <p:nvPr/>
        </p:nvSpPr>
        <p:spPr>
          <a:xfrm>
            <a:off x="8066394" y="4329071"/>
            <a:ext cx="1788901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r Messung nicht benötigte Folien (ersten beiden Folien eines jeden Stapels)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10FFDC30-F694-480B-B6AE-5EF2A854370E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8960845" y="3474002"/>
            <a:ext cx="1561420" cy="855069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8B813A86-DF98-4EA5-B5BA-161A91BD27BE}"/>
              </a:ext>
            </a:extLst>
          </p:cNvPr>
          <p:cNvCxnSpPr>
            <a:cxnSpLocks/>
          </p:cNvCxnSpPr>
          <p:nvPr/>
        </p:nvCxnSpPr>
        <p:spPr>
          <a:xfrm>
            <a:off x="9978315" y="3834444"/>
            <a:ext cx="345830" cy="22369"/>
          </a:xfrm>
          <a:prstGeom prst="straightConnector1">
            <a:avLst/>
          </a:prstGeom>
          <a:ln>
            <a:solidFill>
              <a:srgbClr val="FFFF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8CC270F8-23FA-4BB9-A09D-B709E3E18046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7709905" y="3429000"/>
            <a:ext cx="1250940" cy="900071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B9F9741D-8ADB-44A9-9E37-BEA3C423E8BF}"/>
              </a:ext>
            </a:extLst>
          </p:cNvPr>
          <p:cNvSpPr/>
          <p:nvPr/>
        </p:nvSpPr>
        <p:spPr>
          <a:xfrm>
            <a:off x="6161785" y="4329071"/>
            <a:ext cx="1788901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essene Folie (dritte Folie eines jeden Stapels)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CFD2022-302D-4451-AD07-4ABB8B0EFE60}"/>
              </a:ext>
            </a:extLst>
          </p:cNvPr>
          <p:cNvCxnSpPr>
            <a:cxnSpLocks/>
            <a:endCxn id="33" idx="0"/>
          </p:cNvCxnSpPr>
          <p:nvPr/>
        </p:nvCxnSpPr>
        <p:spPr>
          <a:xfrm flipH="1">
            <a:off x="7056236" y="3497031"/>
            <a:ext cx="225428" cy="832040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E55C20F-D575-453F-AC04-0F67A3A3356A}"/>
              </a:ext>
            </a:extLst>
          </p:cNvPr>
          <p:cNvCxnSpPr>
            <a:cxnSpLocks/>
            <a:endCxn id="33" idx="0"/>
          </p:cNvCxnSpPr>
          <p:nvPr/>
        </p:nvCxnSpPr>
        <p:spPr>
          <a:xfrm flipH="1">
            <a:off x="7056236" y="3497031"/>
            <a:ext cx="993510" cy="832040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ED679F98-5681-47C6-B8F9-0725B34250EE}"/>
              </a:ext>
            </a:extLst>
          </p:cNvPr>
          <p:cNvSpPr/>
          <p:nvPr/>
        </p:nvSpPr>
        <p:spPr>
          <a:xfrm rot="257915">
            <a:off x="9946654" y="3891880"/>
            <a:ext cx="360000" cy="1714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m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5E4891F-079B-4D66-9B11-622C5DBC2BE6}"/>
              </a:ext>
            </a:extLst>
          </p:cNvPr>
          <p:cNvSpPr/>
          <p:nvPr/>
        </p:nvSpPr>
        <p:spPr>
          <a:xfrm>
            <a:off x="9971004" y="4329071"/>
            <a:ext cx="1788901" cy="43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essene Folie (dritte Folie eines jeden Stapels)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03E8C8F-0E51-4ABB-81F4-B38742636A64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10159789" y="3584818"/>
            <a:ext cx="705666" cy="744253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831DE28-8CD7-4985-8C12-4713F89F05C3}"/>
              </a:ext>
            </a:extLst>
          </p:cNvPr>
          <p:cNvCxnSpPr>
            <a:cxnSpLocks/>
            <a:endCxn id="37" idx="0"/>
          </p:cNvCxnSpPr>
          <p:nvPr/>
        </p:nvCxnSpPr>
        <p:spPr>
          <a:xfrm flipH="1">
            <a:off x="10865455" y="3584817"/>
            <a:ext cx="7130" cy="744254"/>
          </a:xfrm>
          <a:prstGeom prst="line">
            <a:avLst/>
          </a:prstGeom>
          <a:ln w="6350">
            <a:solidFill>
              <a:schemeClr val="tx1"/>
            </a:solidFill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BAF4491-DEBE-484F-9623-4204FC272C81}"/>
              </a:ext>
            </a:extLst>
          </p:cNvPr>
          <p:cNvCxnSpPr>
            <a:cxnSpLocks/>
          </p:cNvCxnSpPr>
          <p:nvPr/>
        </p:nvCxnSpPr>
        <p:spPr>
          <a:xfrm>
            <a:off x="10327683" y="3859195"/>
            <a:ext cx="352379" cy="32685"/>
          </a:xfrm>
          <a:prstGeom prst="straightConnector1">
            <a:avLst/>
          </a:prstGeom>
          <a:ln>
            <a:solidFill>
              <a:srgbClr val="FFFF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752FF9A-8E04-462E-BFDF-318E340CBD1B}"/>
              </a:ext>
            </a:extLst>
          </p:cNvPr>
          <p:cNvCxnSpPr>
            <a:cxnSpLocks/>
          </p:cNvCxnSpPr>
          <p:nvPr/>
        </p:nvCxnSpPr>
        <p:spPr>
          <a:xfrm>
            <a:off x="10687191" y="3891880"/>
            <a:ext cx="360076" cy="33890"/>
          </a:xfrm>
          <a:prstGeom prst="straightConnector1">
            <a:avLst/>
          </a:prstGeom>
          <a:ln>
            <a:solidFill>
              <a:srgbClr val="FFFF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42D135AC-BF26-4EB6-9837-8039E69FD59C}"/>
              </a:ext>
            </a:extLst>
          </p:cNvPr>
          <p:cNvSpPr/>
          <p:nvPr/>
        </p:nvSpPr>
        <p:spPr>
          <a:xfrm rot="257915">
            <a:off x="10310580" y="3913696"/>
            <a:ext cx="360000" cy="1714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mm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078189C-EB0C-4EAC-8CCB-D251B518AD4A}"/>
              </a:ext>
            </a:extLst>
          </p:cNvPr>
          <p:cNvSpPr/>
          <p:nvPr/>
        </p:nvSpPr>
        <p:spPr>
          <a:xfrm rot="257915">
            <a:off x="10682050" y="3942631"/>
            <a:ext cx="360000" cy="1714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mm</a:t>
            </a:r>
          </a:p>
        </p:txBody>
      </p:sp>
    </p:spTree>
    <p:extLst>
      <p:ext uri="{BB962C8B-B14F-4D97-AF65-F5344CB8AC3E}">
        <p14:creationId xmlns:p14="http://schemas.microsoft.com/office/powerpoint/2010/main" val="2116439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69FEA8-D772-4036-82E1-E2923C6D3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32B208-DE95-4C51-A7D1-4A101371E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4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29DF66E-9815-41EF-ABF9-A2F600B644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1" y="784733"/>
            <a:ext cx="5029199" cy="580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9448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211EA2C-0A74-48CD-8E1A-7DCCB5C32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454" y="1808163"/>
            <a:ext cx="5148628" cy="2882560"/>
          </a:xfrm>
        </p:spPr>
        <p:txBody>
          <a:bodyPr/>
          <a:lstStyle/>
          <a:p>
            <a:r>
              <a:rPr lang="de-DE" dirty="0"/>
              <a:t>Reduzierung der Verweilzeit ohne merklichen Einfluss auf die Gratbildung und die Prozessantworten</a:t>
            </a:r>
          </a:p>
          <a:p>
            <a:r>
              <a:rPr lang="de-DE" dirty="0"/>
              <a:t>Querschliffe offenbaren gute Nahtqualität und vollständige Anbindung auch bei 0s Verweilzeit</a:t>
            </a:r>
          </a:p>
          <a:p>
            <a:r>
              <a:rPr lang="de-DE" dirty="0"/>
              <a:t>Für die Widerstandsmessung haben sich 9 mm breite Proben als zu schmal erwiesen</a:t>
            </a:r>
          </a:p>
          <a:p>
            <a:pPr marL="0" indent="0">
              <a:buNone/>
            </a:pPr>
            <a:r>
              <a:rPr lang="de-DE" b="1" dirty="0"/>
              <a:t>→ </a:t>
            </a:r>
            <a:r>
              <a:rPr lang="de-DE" dirty="0"/>
              <a:t>breitere Proben für verlässlichere Ergebnisse empfehlenswert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→</a:t>
            </a:r>
            <a:r>
              <a:rPr lang="de-DE" dirty="0"/>
              <a:t> Reduzierung der Verweilzeit von 2 s auf 0 s hatte keine negativen Auswirkungen auf die Fügestellen</a:t>
            </a:r>
          </a:p>
          <a:p>
            <a:pPr marL="0" indent="0">
              <a:buNone/>
            </a:pPr>
            <a:r>
              <a:rPr lang="de-DE" b="1" dirty="0"/>
              <a:t>→ </a:t>
            </a:r>
            <a:r>
              <a:rPr lang="de-DE" dirty="0"/>
              <a:t>kürzere Prozessze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CCB610-F1B0-4D93-B0DF-C0E993488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irkungen einer reduzierten Verweilzei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7183B9E-891D-4C28-9FC2-369CBADCDA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A6FFABD-152E-45CF-8FD5-7A210B85C5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der Vorversuch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66BB82-67E1-45D5-9B24-6AA0268F99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576" y="5736834"/>
            <a:ext cx="7859672" cy="40838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937D58-6F0A-40E4-8389-C94B060AA36A}"/>
              </a:ext>
            </a:extLst>
          </p:cNvPr>
          <p:cNvSpPr/>
          <p:nvPr/>
        </p:nvSpPr>
        <p:spPr>
          <a:xfrm>
            <a:off x="2435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315F45B-FF9F-474B-8A7C-E2099690A377}"/>
              </a:ext>
            </a:extLst>
          </p:cNvPr>
          <p:cNvSpPr/>
          <p:nvPr/>
        </p:nvSpPr>
        <p:spPr>
          <a:xfrm>
            <a:off x="3317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7B9876A-75E8-49A8-9B9A-6851BBDEFE98}"/>
              </a:ext>
            </a:extLst>
          </p:cNvPr>
          <p:cNvSpPr/>
          <p:nvPr/>
        </p:nvSpPr>
        <p:spPr>
          <a:xfrm>
            <a:off x="4199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09C13F-209A-40EB-A36F-8A9C2F29FEA7}"/>
              </a:ext>
            </a:extLst>
          </p:cNvPr>
          <p:cNvSpPr/>
          <p:nvPr/>
        </p:nvSpPr>
        <p:spPr>
          <a:xfrm>
            <a:off x="5081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4F4175-DFFA-407F-AD42-BB0B0530275F}"/>
              </a:ext>
            </a:extLst>
          </p:cNvPr>
          <p:cNvSpPr/>
          <p:nvPr/>
        </p:nvSpPr>
        <p:spPr>
          <a:xfrm>
            <a:off x="5963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416FA7B-4719-4196-95AC-4EFBA0B2A9C6}"/>
              </a:ext>
            </a:extLst>
          </p:cNvPr>
          <p:cNvSpPr/>
          <p:nvPr/>
        </p:nvSpPr>
        <p:spPr>
          <a:xfrm>
            <a:off x="6845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2CFA8C7-99F3-4CD9-8F70-23E0637F248E}"/>
              </a:ext>
            </a:extLst>
          </p:cNvPr>
          <p:cNvSpPr/>
          <p:nvPr/>
        </p:nvSpPr>
        <p:spPr>
          <a:xfrm>
            <a:off x="7727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EA90445-109E-4B5B-ABC5-A200ED52416F}"/>
              </a:ext>
            </a:extLst>
          </p:cNvPr>
          <p:cNvSpPr/>
          <p:nvPr/>
        </p:nvSpPr>
        <p:spPr>
          <a:xfrm>
            <a:off x="8609310" y="5665714"/>
            <a:ext cx="882000" cy="55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3C26FF5-BDEB-42F5-B941-2D88F7F09A11}"/>
              </a:ext>
            </a:extLst>
          </p:cNvPr>
          <p:cNvCxnSpPr>
            <a:cxnSpLocks/>
          </p:cNvCxnSpPr>
          <p:nvPr/>
        </p:nvCxnSpPr>
        <p:spPr>
          <a:xfrm>
            <a:off x="2435310" y="5545882"/>
            <a:ext cx="8820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F89BCC11-5A18-470B-A97D-B40EDB29A92F}"/>
              </a:ext>
            </a:extLst>
          </p:cNvPr>
          <p:cNvSpPr txBox="1"/>
          <p:nvPr/>
        </p:nvSpPr>
        <p:spPr>
          <a:xfrm>
            <a:off x="2652691" y="5320820"/>
            <a:ext cx="447238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9 mm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B0C3BD7B-29F2-443D-94E5-1B6AC72F56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6117" y="1730192"/>
            <a:ext cx="5470428" cy="323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670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841959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73BA147-3913-45BD-B9DE-D4D9B08A0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56" y="343459"/>
            <a:ext cx="9023347" cy="738664"/>
          </a:xfrm>
        </p:spPr>
        <p:txBody>
          <a:bodyPr/>
          <a:lstStyle/>
          <a:p>
            <a:r>
              <a:rPr lang="de-DE" dirty="0"/>
              <a:t>Innovative Fügeverfahren für die interne Kontaktierung von Lithium-Ionen-Zell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5A90F-4C8A-4A74-9DAB-5D5DC117B0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2" y="6390167"/>
            <a:ext cx="5664198" cy="448272"/>
          </a:xfrm>
        </p:spPr>
        <p:txBody>
          <a:bodyPr/>
          <a:lstStyle/>
          <a:p>
            <a:r>
              <a:rPr lang="de-DE" dirty="0"/>
              <a:t>USW: Ultra Sonic Welding (Ultraschallschweißen); LBW: Laser Beam Welding (Laserstrahlschweißen);</a:t>
            </a:r>
          </a:p>
          <a:p>
            <a:r>
              <a:rPr lang="de-DE" dirty="0"/>
              <a:t>FSW: </a:t>
            </a:r>
            <a:r>
              <a:rPr lang="de-DE" dirty="0" err="1"/>
              <a:t>Friction</a:t>
            </a:r>
            <a:r>
              <a:rPr lang="de-DE" dirty="0"/>
              <a:t> </a:t>
            </a:r>
            <a:r>
              <a:rPr lang="de-DE" dirty="0" err="1"/>
              <a:t>Stir</a:t>
            </a:r>
            <a:r>
              <a:rPr lang="de-DE" dirty="0"/>
              <a:t> Welding (Rührreibschweißen); µFSW: Micro </a:t>
            </a:r>
            <a:r>
              <a:rPr lang="de-DE" dirty="0" err="1"/>
              <a:t>Friction</a:t>
            </a:r>
            <a:r>
              <a:rPr lang="de-DE" dirty="0"/>
              <a:t> </a:t>
            </a:r>
            <a:r>
              <a:rPr lang="de-DE" dirty="0" err="1"/>
              <a:t>Stir</a:t>
            </a:r>
            <a:r>
              <a:rPr lang="de-DE" dirty="0"/>
              <a:t> Welding (Mikro-Rührreibschweißen)</a:t>
            </a:r>
          </a:p>
          <a:p>
            <a:r>
              <a:rPr lang="de-DE" dirty="0"/>
              <a:t>[1] KAMPKER (2014); [2] KAMPKER ET AL. (2013); [3] WÖHRLE (2013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74FBE3-663A-400D-89C1-321F9C772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F259457E-B02D-4A0F-9A06-38DE437D943B}"/>
              </a:ext>
            </a:extLst>
          </p:cNvPr>
          <p:cNvGrpSpPr/>
          <p:nvPr/>
        </p:nvGrpSpPr>
        <p:grpSpPr>
          <a:xfrm>
            <a:off x="431800" y="1486088"/>
            <a:ext cx="5266218" cy="2301768"/>
            <a:chOff x="425455" y="1636858"/>
            <a:chExt cx="5266218" cy="2115215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24ED054A-CC8E-458B-9DFC-1C2EB3814A0D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Zunahme der Bedeutung elektrischer Antriebskonzep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Elektrischer Energiespeicher als Schlüsselroll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Markterfolg ist abhängig von den Kosten [1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Zellinterne Kontaktierung als wichtiger Produktionsschritt [1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Konventionelle Fügeverfahren sind für die Batteriematerialien Aluminium und Kupfer ungeeignet [1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AF8E2C7-AE29-4032-B593-0FE562DE27F8}"/>
                </a:ext>
              </a:extLst>
            </p:cNvPr>
            <p:cNvSpPr/>
            <p:nvPr/>
          </p:nvSpPr>
          <p:spPr>
            <a:xfrm>
              <a:off x="561952" y="1636858"/>
              <a:ext cx="1640072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sgangssituation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DFF6974-65B0-4C0B-9350-83E71BC2610D}"/>
              </a:ext>
            </a:extLst>
          </p:cNvPr>
          <p:cNvGrpSpPr/>
          <p:nvPr/>
        </p:nvGrpSpPr>
        <p:grpSpPr>
          <a:xfrm>
            <a:off x="2882264" y="5028002"/>
            <a:ext cx="6427470" cy="909344"/>
            <a:chOff x="-19713" y="1636856"/>
            <a:chExt cx="5266218" cy="2158076"/>
          </a:xfrm>
        </p:grpSpPr>
        <p:sp>
          <p:nvSpPr>
            <p:cNvPr id="23" name="Text Placeholder 7">
              <a:extLst>
                <a:ext uri="{FF2B5EF4-FFF2-40B4-BE49-F238E27FC236}">
                  <a16:creationId xmlns:a16="http://schemas.microsoft.com/office/drawing/2014/main" id="{533B998C-61EB-4C45-BA5A-081B20767249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-19713" y="1851022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Qualifizierung des µFSW für die interne Kontaktierung von Lithium-Ionen-Zellen</a:t>
              </a: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4078A5A6-4AFC-42FE-B370-7D91E50239A3}"/>
                </a:ext>
              </a:extLst>
            </p:cNvPr>
            <p:cNvSpPr/>
            <p:nvPr/>
          </p:nvSpPr>
          <p:spPr>
            <a:xfrm>
              <a:off x="103583" y="1636856"/>
              <a:ext cx="962078" cy="2990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ielsetzung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53A75EE-9C58-4F7E-BDC1-6715E121B4B8}"/>
              </a:ext>
            </a:extLst>
          </p:cNvPr>
          <p:cNvGrpSpPr/>
          <p:nvPr/>
        </p:nvGrpSpPr>
        <p:grpSpPr>
          <a:xfrm>
            <a:off x="6493982" y="1486088"/>
            <a:ext cx="5266218" cy="2301768"/>
            <a:chOff x="425455" y="1605026"/>
            <a:chExt cx="5266218" cy="2147047"/>
          </a:xfrm>
        </p:grpSpPr>
        <p:sp>
          <p:nvSpPr>
            <p:cNvPr id="15" name="Text Placeholder 7">
              <a:extLst>
                <a:ext uri="{FF2B5EF4-FFF2-40B4-BE49-F238E27FC236}">
                  <a16:creationId xmlns:a16="http://schemas.microsoft.com/office/drawing/2014/main" id="{8A8533D4-FC7D-4FE0-8E44-9457387351F7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Aktueller Einsatz des USW und des LBW [2]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Beide mit prozessbedingten Nachteilen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→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Forschung nach alternativen Fügeverfahren zur zellinternen Kontaktierung</a:t>
              </a: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4CF5CD8-6960-4951-B57C-1CF566A51111}"/>
                </a:ext>
              </a:extLst>
            </p:cNvPr>
            <p:cNvSpPr/>
            <p:nvPr/>
          </p:nvSpPr>
          <p:spPr>
            <a:xfrm>
              <a:off x="561951" y="1605026"/>
              <a:ext cx="3735739" cy="3256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0" i="0" u="none" baseline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ügeverfahren zur zellinternen Kontaktierung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FDF5E0DD-E8ED-4998-AA6B-73E51D96D60B}"/>
              </a:ext>
            </a:extLst>
          </p:cNvPr>
          <p:cNvSpPr/>
          <p:nvPr/>
        </p:nvSpPr>
        <p:spPr>
          <a:xfrm flipV="1">
            <a:off x="3186221" y="3968835"/>
            <a:ext cx="5819556" cy="914400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1FC1E48-9F46-46E3-A417-F74D6C161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455" y="4152379"/>
            <a:ext cx="2384420" cy="198041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DF145C1-5D34-414C-A27E-BE576908D8E7}"/>
              </a:ext>
            </a:extLst>
          </p:cNvPr>
          <p:cNvSpPr txBox="1"/>
          <p:nvPr/>
        </p:nvSpPr>
        <p:spPr>
          <a:xfrm>
            <a:off x="1632839" y="5741872"/>
            <a:ext cx="198772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2679849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D3311D-7055-48A2-B351-C29E177DE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lagen des FSW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6F27FCE-3F60-4E67-A2C2-C618433EF5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SW: </a:t>
            </a:r>
            <a:r>
              <a:rPr lang="de-DE" dirty="0" err="1"/>
              <a:t>Friction</a:t>
            </a:r>
            <a:r>
              <a:rPr lang="de-DE" dirty="0"/>
              <a:t> </a:t>
            </a:r>
            <a:r>
              <a:rPr lang="de-DE" dirty="0" err="1"/>
              <a:t>Stir</a:t>
            </a:r>
            <a:r>
              <a:rPr lang="de-DE" dirty="0"/>
              <a:t> Welding (Rührreibschweißen)</a:t>
            </a:r>
          </a:p>
          <a:p>
            <a:r>
              <a:rPr lang="de-DE" dirty="0"/>
              <a:t>[4] RUHSTORFER 201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4DC574-5CB0-4C9A-9CBA-33D50628A1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otivation und Grundlagen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3D2EC8-3F80-4EF9-B18A-ED493D28A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AC3D680-E40E-47FE-96B3-8177B64895EC}"/>
              </a:ext>
            </a:extLst>
          </p:cNvPr>
          <p:cNvGrpSpPr/>
          <p:nvPr/>
        </p:nvGrpSpPr>
        <p:grpSpPr>
          <a:xfrm>
            <a:off x="1972535" y="1715785"/>
            <a:ext cx="8246930" cy="4572000"/>
            <a:chOff x="425455" y="1702015"/>
            <a:chExt cx="5266218" cy="2050058"/>
          </a:xfrm>
        </p:grpSpPr>
        <p:sp>
          <p:nvSpPr>
            <p:cNvPr id="13" name="Text Placeholder 7">
              <a:extLst>
                <a:ext uri="{FF2B5EF4-FFF2-40B4-BE49-F238E27FC236}">
                  <a16:creationId xmlns:a16="http://schemas.microsoft.com/office/drawing/2014/main" id="{CE4B6302-F83E-4976-A860-A35988CEEBB3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F55CEA3A-466C-4928-984F-F9B0178CE472}"/>
                </a:ext>
              </a:extLst>
            </p:cNvPr>
            <p:cNvSpPr/>
            <p:nvPr/>
          </p:nvSpPr>
          <p:spPr>
            <a:xfrm>
              <a:off x="565495" y="1702015"/>
              <a:ext cx="896624" cy="139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zessablauf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ED80E397-1F07-4FC4-96D3-EAD53CA44C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4432" y="2027083"/>
            <a:ext cx="6863137" cy="420326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D35106B-86B6-4AC9-B039-1E47B08D425B}"/>
              </a:ext>
            </a:extLst>
          </p:cNvPr>
          <p:cNvSpPr txBox="1"/>
          <p:nvPr/>
        </p:nvSpPr>
        <p:spPr>
          <a:xfrm>
            <a:off x="9349417" y="5815173"/>
            <a:ext cx="198772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[4]</a:t>
            </a:r>
          </a:p>
        </p:txBody>
      </p:sp>
    </p:spTree>
    <p:extLst>
      <p:ext uri="{BB962C8B-B14F-4D97-AF65-F5344CB8AC3E}">
        <p14:creationId xmlns:p14="http://schemas.microsoft.com/office/powerpoint/2010/main" val="1332171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3083605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474961D-6BA1-4DE9-AFCB-6B8CB30EF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µFSW von dünnen Folienstapel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97DE27-DEB2-4C99-96A8-F2DB25837E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MÜS: Mehrfach-Überlappstoß; MSS: Mehrfach-Stumpfstoß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D06290A-F943-46BC-975F-D8C8FB469D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and der Technik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DD31E93-89C7-4DD2-9EF9-B77DD6895613}"/>
              </a:ext>
            </a:extLst>
          </p:cNvPr>
          <p:cNvGrpSpPr/>
          <p:nvPr/>
        </p:nvGrpSpPr>
        <p:grpSpPr>
          <a:xfrm>
            <a:off x="425455" y="4157072"/>
            <a:ext cx="5266218" cy="1872000"/>
            <a:chOff x="425455" y="1636858"/>
            <a:chExt cx="5266218" cy="2115215"/>
          </a:xfrm>
        </p:grpSpPr>
        <p:sp>
          <p:nvSpPr>
            <p:cNvPr id="12" name="Text Placeholder 7">
              <a:extLst>
                <a:ext uri="{FF2B5EF4-FFF2-40B4-BE49-F238E27FC236}">
                  <a16:creationId xmlns:a16="http://schemas.microsoft.com/office/drawing/2014/main" id="{231265DE-DFEC-47AC-9C45-A539557EDABD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inienschweiß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MSS von 30 Aluminiumfolien </a:t>
              </a:r>
              <a:b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</a:b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bzw. Kupferfolien 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+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Machbarkeit und gute mechanische Festigkeit aufgezeigt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- 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efektbehaftete Schweißnäh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3D60B6F-7F8F-46AE-A253-33D9BA2C07B3}"/>
                </a:ext>
              </a:extLst>
            </p:cNvPr>
            <p:cNvSpPr/>
            <p:nvPr/>
          </p:nvSpPr>
          <p:spPr>
            <a:xfrm>
              <a:off x="561952" y="1636858"/>
              <a:ext cx="1798476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FFMANN (2020)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E4EDE3C-6029-44C5-B4EB-310939A3098F}"/>
              </a:ext>
            </a:extLst>
          </p:cNvPr>
          <p:cNvGrpSpPr/>
          <p:nvPr/>
        </p:nvGrpSpPr>
        <p:grpSpPr>
          <a:xfrm>
            <a:off x="6500327" y="4157072"/>
            <a:ext cx="5266218" cy="1872000"/>
            <a:chOff x="425455" y="1636858"/>
            <a:chExt cx="5266218" cy="2471467"/>
          </a:xfrm>
        </p:grpSpPr>
        <p:sp>
          <p:nvSpPr>
            <p:cNvPr id="18" name="Text Placeholder 7">
              <a:extLst>
                <a:ext uri="{FF2B5EF4-FFF2-40B4-BE49-F238E27FC236}">
                  <a16:creationId xmlns:a16="http://schemas.microsoft.com/office/drawing/2014/main" id="{9388BC96-C9F1-4A83-9D65-3B339379E957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2"/>
              <a:ext cx="5266218" cy="2300163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Punktschweißungen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MÜS von 50 Aluminiumfolien 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+ 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defektfreie Fügestellen; geringer elektr. Kontaktwiderstand; hohe mechanische Festigkeit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→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µFSW-Punktschweißungen sehr vielversprechen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7526830-4057-4519-B501-C0675CA17AFA}"/>
                </a:ext>
              </a:extLst>
            </p:cNvPr>
            <p:cNvSpPr/>
            <p:nvPr/>
          </p:nvSpPr>
          <p:spPr>
            <a:xfrm>
              <a:off x="561952" y="1636858"/>
              <a:ext cx="1879855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A ET AL. (2021)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07E97DF-C8F7-4B0F-9CDF-BE44C88CCF1B}"/>
              </a:ext>
            </a:extLst>
          </p:cNvPr>
          <p:cNvGrpSpPr/>
          <p:nvPr/>
        </p:nvGrpSpPr>
        <p:grpSpPr>
          <a:xfrm>
            <a:off x="425455" y="1847083"/>
            <a:ext cx="5266218" cy="1873881"/>
            <a:chOff x="425455" y="1636858"/>
            <a:chExt cx="5266218" cy="2115215"/>
          </a:xfrm>
        </p:grpSpPr>
        <p:sp>
          <p:nvSpPr>
            <p:cNvPr id="21" name="Text Placeholder 7">
              <a:extLst>
                <a:ext uri="{FF2B5EF4-FFF2-40B4-BE49-F238E27FC236}">
                  <a16:creationId xmlns:a16="http://schemas.microsoft.com/office/drawing/2014/main" id="{169CF111-65FC-49DE-BCC7-133FEED3F1C5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inienschweißung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MÜS von 30 Aluminiumfolien 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+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Machbarkeit aufgezeigt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-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Defektbehaftete Schweißnäh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B43104B-7251-456B-B918-7A5D51CCE28F}"/>
                </a:ext>
              </a:extLst>
            </p:cNvPr>
            <p:cNvSpPr/>
            <p:nvPr/>
          </p:nvSpPr>
          <p:spPr>
            <a:xfrm>
              <a:off x="561952" y="1636858"/>
              <a:ext cx="1465185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TER (2020)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1347CB7-FC43-4798-9DF7-8283E2932979}"/>
              </a:ext>
            </a:extLst>
          </p:cNvPr>
          <p:cNvGrpSpPr/>
          <p:nvPr/>
        </p:nvGrpSpPr>
        <p:grpSpPr>
          <a:xfrm>
            <a:off x="6500327" y="1847782"/>
            <a:ext cx="5266218" cy="1873182"/>
            <a:chOff x="425455" y="1636858"/>
            <a:chExt cx="5266218" cy="2115215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874F89E6-6600-42E8-95DC-EB188FEC74E0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5266218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Linienschweißungen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MSS von 30 Aluminiumfolien </a:t>
              </a:r>
              <a:b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</a:b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bzw. Kupferfolien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+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Machbarkeit aufgezeigt</a:t>
              </a:r>
            </a:p>
            <a:p>
              <a:r>
                <a:rPr lang="de-DE" sz="1400" b="1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-</a:t>
              </a:r>
              <a:r>
                <a:rPr lang="de-DE" sz="1400" dirty="0">
                  <a:solidFill>
                    <a:schemeClr val="tx1"/>
                  </a:solidFill>
                  <a:latin typeface="+mn-lt"/>
                  <a:cs typeface="Times New Roman" panose="02020603050405020304" pitchFamily="18" charset="0"/>
                </a:rPr>
                <a:t> Defektbehaftete Schweißnäh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7C887B6F-B8A9-4ABA-A130-CB2407C7B476}"/>
                </a:ext>
              </a:extLst>
            </p:cNvPr>
            <p:cNvSpPr/>
            <p:nvPr/>
          </p:nvSpPr>
          <p:spPr>
            <a:xfrm>
              <a:off x="561952" y="1636858"/>
              <a:ext cx="1465185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GL (2020)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85FF4656-61C5-4566-B544-920CEB41CB6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73" t="2477" r="58665"/>
          <a:stretch/>
        </p:blipFill>
        <p:spPr>
          <a:xfrm>
            <a:off x="10879528" y="4094819"/>
            <a:ext cx="1118441" cy="106978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B726F80-C731-49E3-B330-A584DF7E1C8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473"/>
          <a:stretch/>
        </p:blipFill>
        <p:spPr>
          <a:xfrm>
            <a:off x="4290022" y="1436105"/>
            <a:ext cx="1980000" cy="147903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50F6842-ACAF-47ED-B3E7-EE07636EA1C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7782" r="-1"/>
          <a:stretch/>
        </p:blipFill>
        <p:spPr>
          <a:xfrm>
            <a:off x="8238193" y="1625630"/>
            <a:ext cx="3763307" cy="514687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6D6DA77-AAAE-4CC6-9081-470BB5B3C2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0022" y="4162678"/>
            <a:ext cx="1978881" cy="109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358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900C61-EBF5-47C9-9F94-208722C6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92FCC1-3E77-44D7-B230-D6C7E17B3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2029FC-87C1-4662-92F2-A80FEC3ED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156E220-94DF-4EC6-97A9-36F2FCEC3763}"/>
              </a:ext>
            </a:extLst>
          </p:cNvPr>
          <p:cNvSpPr txBox="1"/>
          <p:nvPr/>
        </p:nvSpPr>
        <p:spPr>
          <a:xfrm>
            <a:off x="425456" y="1806937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914569B-1304-4818-8BF5-AE4D4D8B80E9}"/>
              </a:ext>
            </a:extLst>
          </p:cNvPr>
          <p:cNvSpPr txBox="1"/>
          <p:nvPr/>
        </p:nvSpPr>
        <p:spPr>
          <a:xfrm>
            <a:off x="425456" y="2328826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FFDF94-27C3-4E05-81B2-D8BACBED0548}"/>
              </a:ext>
            </a:extLst>
          </p:cNvPr>
          <p:cNvSpPr txBox="1"/>
          <p:nvPr/>
        </p:nvSpPr>
        <p:spPr>
          <a:xfrm>
            <a:off x="425456" y="2850715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99CC0-6406-4415-AA92-0FB2097F9650}"/>
              </a:ext>
            </a:extLst>
          </p:cNvPr>
          <p:cNvSpPr txBox="1"/>
          <p:nvPr/>
        </p:nvSpPr>
        <p:spPr>
          <a:xfrm>
            <a:off x="425456" y="3372604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CC9B4C3-F699-479D-A125-70A05C0F6BE6}"/>
              </a:ext>
            </a:extLst>
          </p:cNvPr>
          <p:cNvSpPr txBox="1"/>
          <p:nvPr/>
        </p:nvSpPr>
        <p:spPr>
          <a:xfrm>
            <a:off x="425456" y="3894493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5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70D0BE7-0EBB-4122-BE52-F29519604C0B}"/>
              </a:ext>
            </a:extLst>
          </p:cNvPr>
          <p:cNvSpPr txBox="1"/>
          <p:nvPr/>
        </p:nvSpPr>
        <p:spPr>
          <a:xfrm>
            <a:off x="688008" y="1806937"/>
            <a:ext cx="2462213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Motivation und Grundla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3A8D84-C6EA-4616-8259-515F35C920A2}"/>
              </a:ext>
            </a:extLst>
          </p:cNvPr>
          <p:cNvSpPr txBox="1"/>
          <p:nvPr/>
        </p:nvSpPr>
        <p:spPr>
          <a:xfrm>
            <a:off x="688008" y="2328826"/>
            <a:ext cx="1637436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Stand der Techni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CCE206-7B15-49E3-B128-B842893791F3}"/>
              </a:ext>
            </a:extLst>
          </p:cNvPr>
          <p:cNvSpPr txBox="1"/>
          <p:nvPr/>
        </p:nvSpPr>
        <p:spPr>
          <a:xfrm>
            <a:off x="688008" y="2850715"/>
            <a:ext cx="361143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solidFill>
                  <a:schemeClr val="bg2"/>
                </a:solidFill>
                <a:latin typeface="+mn-lt"/>
              </a:rPr>
              <a:t>Forschungsfragen und Vorgehensweis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250EB5E-83A9-4841-B20B-88AB3C08D455}"/>
              </a:ext>
            </a:extLst>
          </p:cNvPr>
          <p:cNvSpPr txBox="1"/>
          <p:nvPr/>
        </p:nvSpPr>
        <p:spPr>
          <a:xfrm>
            <a:off x="688008" y="3894493"/>
            <a:ext cx="295100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Zusammenfassung und Ausblic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9A34984-5C60-4307-9CB2-B10A6C89A7FE}"/>
              </a:ext>
            </a:extLst>
          </p:cNvPr>
          <p:cNvSpPr txBox="1"/>
          <p:nvPr/>
        </p:nvSpPr>
        <p:spPr>
          <a:xfrm>
            <a:off x="688008" y="3372604"/>
            <a:ext cx="1024319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Ergebniss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ACC518F-970C-42F8-9E41-950C7546327C}"/>
              </a:ext>
            </a:extLst>
          </p:cNvPr>
          <p:cNvSpPr txBox="1"/>
          <p:nvPr/>
        </p:nvSpPr>
        <p:spPr>
          <a:xfrm>
            <a:off x="425456" y="4416380"/>
            <a:ext cx="11381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dirty="0">
                <a:latin typeface="+mn-lt"/>
              </a:rPr>
              <a:t>6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9ED0FE-27C1-4DC8-AE15-7F9791336B83}"/>
              </a:ext>
            </a:extLst>
          </p:cNvPr>
          <p:cNvSpPr txBox="1"/>
          <p:nvPr/>
        </p:nvSpPr>
        <p:spPr>
          <a:xfrm>
            <a:off x="688008" y="4416380"/>
            <a:ext cx="705321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2155086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948051C-C0DB-4D63-B399-156F5943F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hensweise zur Bearbeitung der Forschungsfra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F66450-E381-4203-AC4D-643EA913B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4FFAD6-41C8-4405-89FB-C0F8A79C55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fragen und Vorgehensweis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D6BF811-5442-4EEB-B120-03E9C70A8A73}"/>
              </a:ext>
            </a:extLst>
          </p:cNvPr>
          <p:cNvGrpSpPr/>
          <p:nvPr/>
        </p:nvGrpSpPr>
        <p:grpSpPr>
          <a:xfrm>
            <a:off x="425455" y="1641131"/>
            <a:ext cx="11334748" cy="1853921"/>
            <a:chOff x="425455" y="1636858"/>
            <a:chExt cx="4937079" cy="2115215"/>
          </a:xfrm>
        </p:grpSpPr>
        <p:sp>
          <p:nvSpPr>
            <p:cNvPr id="7" name="Text Placeholder 7">
              <a:extLst>
                <a:ext uri="{FF2B5EF4-FFF2-40B4-BE49-F238E27FC236}">
                  <a16:creationId xmlns:a16="http://schemas.microsoft.com/office/drawing/2014/main" id="{7A937158-5E01-4E7F-89FD-E14A9A16F8FF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ie kann die Verspannung der Batterieträgerfolien in einem für das µFSW geeigneten Schweißstoß umgesetzt werden und welche Anforderungen muss die Spanntechnik diesbezüglich erfüllen?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elchen Einfluss haben verschiedene µFSW-Werkzeugausprägungen auf das Schweißergebnis? 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ie kann die Prozessgeschwindigkeit und -robustheit beim µFSW von Batterieträgerfolien erhöht werden?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elche Ursache-Wirkungs-Zusammenhänge bestehen zwischen den Prozessparametern und dem Schweißergebnis?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84E2DC6-3EA8-4716-826D-5544E06CD64F}"/>
                </a:ext>
              </a:extLst>
            </p:cNvPr>
            <p:cNvSpPr/>
            <p:nvPr/>
          </p:nvSpPr>
          <p:spPr>
            <a:xfrm>
              <a:off x="519103" y="1636858"/>
              <a:ext cx="736443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schungsfragen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47C9631-1B1D-46AE-8957-5A13B80242F2}"/>
              </a:ext>
            </a:extLst>
          </p:cNvPr>
          <p:cNvGrpSpPr/>
          <p:nvPr/>
        </p:nvGrpSpPr>
        <p:grpSpPr>
          <a:xfrm>
            <a:off x="6614071" y="3816965"/>
            <a:ext cx="5144139" cy="2557762"/>
            <a:chOff x="425455" y="1636857"/>
            <a:chExt cx="4937079" cy="2115216"/>
          </a:xfrm>
        </p:grpSpPr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E608CC91-7A34-470E-B305-EF89B4B6D487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Konstruktion einer geeigneten Spannvorrichtung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Konstruktion verschiedener µFSW-Werkzeuge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Festlegen der Prozessführung</a:t>
              </a:r>
            </a:p>
            <a:p>
              <a:pPr marL="342900" indent="-342900">
                <a:buAutoNum type="arabicPeriod"/>
              </a:pPr>
              <a: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Experimentelle Untersuchungen</a:t>
              </a:r>
              <a:b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- Oberflächenanalyse</a:t>
              </a:r>
              <a:b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- Prozessrückwirkungen</a:t>
              </a:r>
              <a:b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- Elektrischer Widerstand</a:t>
              </a:r>
              <a:b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- Mechanische Festigkeit</a:t>
              </a:r>
              <a:b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- Querschliffe</a:t>
              </a:r>
              <a:br>
                <a:rPr lang="de-DE" sz="1400" dirty="0">
                  <a:solidFill>
                    <a:schemeClr val="tx1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endParaRPr lang="de-DE" sz="14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342900" indent="-342900">
                <a:buAutoNum type="arabicPeriod"/>
              </a:pPr>
              <a:endParaRPr lang="de-DE" sz="14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D824DB7-24A3-4405-AAB4-6BCE3B84E6DF}"/>
                </a:ext>
              </a:extLst>
            </p:cNvPr>
            <p:cNvSpPr/>
            <p:nvPr/>
          </p:nvSpPr>
          <p:spPr>
            <a:xfrm>
              <a:off x="632902" y="1636857"/>
              <a:ext cx="1014215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rgehen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A77F019-0BD5-404A-BCE1-F83597D6201A}"/>
              </a:ext>
            </a:extLst>
          </p:cNvPr>
          <p:cNvGrpSpPr/>
          <p:nvPr/>
        </p:nvGrpSpPr>
        <p:grpSpPr>
          <a:xfrm>
            <a:off x="433790" y="3699147"/>
            <a:ext cx="5147951" cy="2783163"/>
            <a:chOff x="425455" y="1636857"/>
            <a:chExt cx="4937079" cy="2115216"/>
          </a:xfrm>
        </p:grpSpPr>
        <p:sp>
          <p:nvSpPr>
            <p:cNvPr id="19" name="Text Placeholder 7">
              <a:extLst>
                <a:ext uri="{FF2B5EF4-FFF2-40B4-BE49-F238E27FC236}">
                  <a16:creationId xmlns:a16="http://schemas.microsoft.com/office/drawing/2014/main" id="{F624235E-B42B-4504-8E55-0D1D6A6C8A63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425455" y="1808163"/>
              <a:ext cx="4937079" cy="194391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de-DE"/>
              </a:defPPr>
              <a:lvl1pPr fontAlgn="auto">
                <a:spcBef>
                  <a:spcPts val="0"/>
                </a:spcBef>
                <a:spcAft>
                  <a:spcPts val="600"/>
                </a:spcAft>
                <a:defRPr sz="50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lvl="1"/>
              <a:endParaRPr lang="de-DE" sz="1400" dirty="0">
                <a:solidFill>
                  <a:schemeClr val="tx1"/>
                </a:solidFill>
              </a:endParaRPr>
            </a:p>
            <a:p>
              <a:endParaRPr lang="de-DE" sz="14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de-DE" sz="1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CDE079A-4057-49D8-9948-551883FADC41}"/>
                </a:ext>
              </a:extLst>
            </p:cNvPr>
            <p:cNvSpPr/>
            <p:nvPr/>
          </p:nvSpPr>
          <p:spPr>
            <a:xfrm>
              <a:off x="632902" y="1636857"/>
              <a:ext cx="1616792" cy="2938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bengeometrie</a:t>
              </a:r>
              <a:endParaRPr lang="de-DE" sz="16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3E0EBE4F-A380-4178-8F69-D118460F6C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978" y="4085753"/>
            <a:ext cx="5058215" cy="2294945"/>
          </a:xfrm>
          <a:prstGeom prst="rect">
            <a:avLst/>
          </a:prstGeom>
        </p:spPr>
      </p:pic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D80812F9-7676-4D2D-8250-9280212DB643}"/>
              </a:ext>
            </a:extLst>
          </p:cNvPr>
          <p:cNvSpPr/>
          <p:nvPr/>
        </p:nvSpPr>
        <p:spPr>
          <a:xfrm flipV="1">
            <a:off x="1020313" y="3599418"/>
            <a:ext cx="3973317" cy="199457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BA2BB1A-BDB4-45A1-9F70-CCECBF63126A}"/>
              </a:ext>
            </a:extLst>
          </p:cNvPr>
          <p:cNvSpPr/>
          <p:nvPr/>
        </p:nvSpPr>
        <p:spPr>
          <a:xfrm rot="16200000" flipV="1">
            <a:off x="5077148" y="4894848"/>
            <a:ext cx="2041516" cy="617161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786674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3BE53A0-92F4-4E0F-BD44-52761788E6FE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98157A5-3C00-4AEB-9CFE-F2E632894E1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20</Words>
  <Application>Microsoft Office PowerPoint</Application>
  <PresentationFormat>Breitbild</PresentationFormat>
  <Paragraphs>317</Paragraphs>
  <Slides>25</Slides>
  <Notes>2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3" baseType="lpstr">
      <vt:lpstr>Arial</vt:lpstr>
      <vt:lpstr>Calibri</vt:lpstr>
      <vt:lpstr>Courier New</vt:lpstr>
      <vt:lpstr>Symbol</vt:lpstr>
      <vt:lpstr>Wingdings</vt:lpstr>
      <vt:lpstr>Titelfolie</vt:lpstr>
      <vt:lpstr>Inhaltsfolien</vt:lpstr>
      <vt:lpstr>think-cell Folie</vt:lpstr>
      <vt:lpstr>Prozessentwicklung für die interne Kontaktierung von Lithium-Ionen-Zellen durch das Mikro-Rührreibschweißen</vt:lpstr>
      <vt:lpstr>Gliederung</vt:lpstr>
      <vt:lpstr>Gliederung</vt:lpstr>
      <vt:lpstr>Innovative Fügeverfahren für die interne Kontaktierung von Lithium-Ionen-Zellen</vt:lpstr>
      <vt:lpstr>Grundlagen des FSW</vt:lpstr>
      <vt:lpstr>Gliederung</vt:lpstr>
      <vt:lpstr>µFSW von dünnen Folienstapeln</vt:lpstr>
      <vt:lpstr>Gliederung</vt:lpstr>
      <vt:lpstr>Vorgehensweise zur Bearbeitung der Forschungsfragen</vt:lpstr>
      <vt:lpstr>Gliederung</vt:lpstr>
      <vt:lpstr>Konstruktion der Spannvorrichtung und Werkzeuge</vt:lpstr>
      <vt:lpstr>Einfluss der Spannvorrichtung</vt:lpstr>
      <vt:lpstr>Einfluss der Werkzeuge</vt:lpstr>
      <vt:lpstr>Vergleich von Punkt- und Linienschweißungen</vt:lpstr>
      <vt:lpstr>Gliederung</vt:lpstr>
      <vt:lpstr>Interne Kontaktierung von Lithium-Ionen-Zellen durch das Mikro-Rührreibpunktschweißen mit hohem Potenzial</vt:lpstr>
      <vt:lpstr>Vielen Dank für Ihre Aufmerksamkeit!</vt:lpstr>
      <vt:lpstr>Gliederung</vt:lpstr>
      <vt:lpstr>Literaturverzeichnis</vt:lpstr>
      <vt:lpstr>Spannvorrichtung</vt:lpstr>
      <vt:lpstr>Auswirkungen einer reduzierten Eintauchtiefe und Drehzahl</vt:lpstr>
      <vt:lpstr>Messaufbau Zugprüfung</vt:lpstr>
      <vt:lpstr>Messaufbau Widerstandsmessung</vt:lpstr>
      <vt:lpstr>Benchmarking</vt:lpstr>
      <vt:lpstr>Auswirkungen einer reduzierten Verweilzeit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igl, Martina Elisabeth</dc:creator>
  <cp:lastModifiedBy>ga45wuv</cp:lastModifiedBy>
  <cp:revision>54</cp:revision>
  <cp:lastPrinted>2022-01-10T11:38:59Z</cp:lastPrinted>
  <dcterms:created xsi:type="dcterms:W3CDTF">2021-03-05T21:29:21Z</dcterms:created>
  <dcterms:modified xsi:type="dcterms:W3CDTF">2022-01-14T10:42:28Z</dcterms:modified>
</cp:coreProperties>
</file>